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5"/>
    <p:sldMasterId id="2147485185" r:id="rId6"/>
    <p:sldMasterId id="2147485189" r:id="rId7"/>
  </p:sldMasterIdLst>
  <p:notesMasterIdLst>
    <p:notesMasterId r:id="rId16"/>
  </p:notesMasterIdLst>
  <p:handoutMasterIdLst>
    <p:handoutMasterId r:id="rId17"/>
  </p:handoutMasterIdLst>
  <p:sldIdLst>
    <p:sldId id="2147479617" r:id="rId8"/>
    <p:sldId id="2147479606" r:id="rId9"/>
    <p:sldId id="2147479607" r:id="rId10"/>
    <p:sldId id="2147479608" r:id="rId11"/>
    <p:sldId id="2147479615" r:id="rId12"/>
    <p:sldId id="2147479609" r:id="rId13"/>
    <p:sldId id="2147479611" r:id="rId14"/>
    <p:sldId id="2147479616" r:id="rId15"/>
  </p:sldIdLst>
  <p:sldSz cx="12192000" cy="6858000"/>
  <p:notesSz cx="6950075" cy="9236075"/>
  <p:custShowLst>
    <p:custShow name="Format Guide Workshop" id="0">
      <p:sldLst/>
    </p:custShow>
  </p:custShowLst>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dha, Harsil" initials="MH" lastIdx="1" clrIdx="0">
    <p:extLst>
      <p:ext uri="{19B8F6BF-5375-455C-9EA6-DF929625EA0E}">
        <p15:presenceInfo xmlns:p15="http://schemas.microsoft.com/office/powerpoint/2012/main" userId="Modha, Harsi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3864"/>
    <a:srgbClr val="30C1D7"/>
    <a:srgbClr val="00B0F0"/>
    <a:srgbClr val="C8C8C8"/>
    <a:srgbClr val="97C3DD"/>
    <a:srgbClr val="F2F2F2"/>
    <a:srgbClr val="FCEEF3"/>
    <a:srgbClr val="FEF8FA"/>
    <a:srgbClr val="FDE7ED"/>
    <a:srgbClr val="EAF3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4C7B38-258A-4C63-B1F6-91E0E7FF736C}" v="13" dt="2024-09-17T10:55:18.7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AF606853-7671-496A-8E4F-DF71F8EC918B}" styleName="Koyu Stil 1 - Vurgu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Orta Stil 4 - Vurgu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DF18680-E054-41AD-8BC1-D1AEF772440D}" styleName="Orta Stil 2 - Vurgu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Açık Stil 3 - Vurgu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7"/>
    <p:restoredTop sz="94614"/>
  </p:normalViewPr>
  <p:slideViewPr>
    <p:cSldViewPr snapToGrid="0">
      <p:cViewPr varScale="1">
        <p:scale>
          <a:sx n="65" d="100"/>
          <a:sy n="65" d="100"/>
        </p:scale>
        <p:origin x="700" y="4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handoutMaster" Target="handoutMasters/handout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udamini Bagai" userId="4bf985b8-0270-42f3-98ed-54277e631382" providerId="ADAL" clId="{834C7B38-258A-4C63-B1F6-91E0E7FF736C}"/>
    <pc:docChg chg="undo custSel modSld">
      <pc:chgData name="Saudamini Bagai" userId="4bf985b8-0270-42f3-98ed-54277e631382" providerId="ADAL" clId="{834C7B38-258A-4C63-B1F6-91E0E7FF736C}" dt="2024-09-17T10:55:25.007" v="252" actId="20577"/>
      <pc:docMkLst>
        <pc:docMk/>
      </pc:docMkLst>
      <pc:sldChg chg="addSp delSp modSp mod">
        <pc:chgData name="Saudamini Bagai" userId="4bf985b8-0270-42f3-98ed-54277e631382" providerId="ADAL" clId="{834C7B38-258A-4C63-B1F6-91E0E7FF736C}" dt="2024-09-17T10:55:25.007" v="252" actId="20577"/>
        <pc:sldMkLst>
          <pc:docMk/>
          <pc:sldMk cId="1319285846" sldId="2147479606"/>
        </pc:sldMkLst>
        <pc:spChg chg="mod">
          <ac:chgData name="Saudamini Bagai" userId="4bf985b8-0270-42f3-98ed-54277e631382" providerId="ADAL" clId="{834C7B38-258A-4C63-B1F6-91E0E7FF736C}" dt="2024-09-17T10:40:50.903" v="0"/>
          <ac:spMkLst>
            <pc:docMk/>
            <pc:sldMk cId="1319285846" sldId="2147479606"/>
            <ac:spMk id="5" creationId="{B649F9A4-5736-4E33-A7AE-BEF8602D286A}"/>
          </ac:spMkLst>
        </pc:spChg>
        <pc:spChg chg="add mod">
          <ac:chgData name="Saudamini Bagai" userId="4bf985b8-0270-42f3-98ed-54277e631382" providerId="ADAL" clId="{834C7B38-258A-4C63-B1F6-91E0E7FF736C}" dt="2024-09-17T10:43:44.528" v="73" actId="14100"/>
          <ac:spMkLst>
            <pc:docMk/>
            <pc:sldMk cId="1319285846" sldId="2147479606"/>
            <ac:spMk id="8" creationId="{8F3B93EA-447A-DF2F-FE89-6140B106CE74}"/>
          </ac:spMkLst>
        </pc:spChg>
        <pc:spChg chg="del mod">
          <ac:chgData name="Saudamini Bagai" userId="4bf985b8-0270-42f3-98ed-54277e631382" providerId="ADAL" clId="{834C7B38-258A-4C63-B1F6-91E0E7FF736C}" dt="2024-09-17T10:54:28.872" v="208" actId="478"/>
          <ac:spMkLst>
            <pc:docMk/>
            <pc:sldMk cId="1319285846" sldId="2147479606"/>
            <ac:spMk id="16" creationId="{47276310-3D43-44F3-900E-1CDE36B202DC}"/>
          </ac:spMkLst>
        </pc:spChg>
        <pc:spChg chg="mod">
          <ac:chgData name="Saudamini Bagai" userId="4bf985b8-0270-42f3-98ed-54277e631382" providerId="ADAL" clId="{834C7B38-258A-4C63-B1F6-91E0E7FF736C}" dt="2024-09-17T10:43:32.198" v="71" actId="20577"/>
          <ac:spMkLst>
            <pc:docMk/>
            <pc:sldMk cId="1319285846" sldId="2147479606"/>
            <ac:spMk id="17" creationId="{94C5E4F9-6B0F-47E3-A38C-F09AF43E06B6}"/>
          </ac:spMkLst>
        </pc:spChg>
        <pc:spChg chg="add del">
          <ac:chgData name="Saudamini Bagai" userId="4bf985b8-0270-42f3-98ed-54277e631382" providerId="ADAL" clId="{834C7B38-258A-4C63-B1F6-91E0E7FF736C}" dt="2024-09-17T10:54:14.495" v="204" actId="22"/>
          <ac:spMkLst>
            <pc:docMk/>
            <pc:sldMk cId="1319285846" sldId="2147479606"/>
            <ac:spMk id="26" creationId="{D82A5180-5175-F0C8-346A-DC566D64E166}"/>
          </ac:spMkLst>
        </pc:spChg>
        <pc:spChg chg="add del">
          <ac:chgData name="Saudamini Bagai" userId="4bf985b8-0270-42f3-98ed-54277e631382" providerId="ADAL" clId="{834C7B38-258A-4C63-B1F6-91E0E7FF736C}" dt="2024-09-17T10:54:19.983" v="206" actId="22"/>
          <ac:spMkLst>
            <pc:docMk/>
            <pc:sldMk cId="1319285846" sldId="2147479606"/>
            <ac:spMk id="30" creationId="{938E929E-EEE4-2A13-4CFB-EE6FBD59DD1F}"/>
          </ac:spMkLst>
        </pc:spChg>
        <pc:spChg chg="add mod">
          <ac:chgData name="Saudamini Bagai" userId="4bf985b8-0270-42f3-98ed-54277e631382" providerId="ADAL" clId="{834C7B38-258A-4C63-B1F6-91E0E7FF736C}" dt="2024-09-17T10:54:32.637" v="209" actId="1076"/>
          <ac:spMkLst>
            <pc:docMk/>
            <pc:sldMk cId="1319285846" sldId="2147479606"/>
            <ac:spMk id="31" creationId="{6DFB51C0-72FF-0941-0166-7E1671679B73}"/>
          </ac:spMkLst>
        </pc:spChg>
        <pc:spChg chg="add mod">
          <ac:chgData name="Saudamini Bagai" userId="4bf985b8-0270-42f3-98ed-54277e631382" providerId="ADAL" clId="{834C7B38-258A-4C63-B1F6-91E0E7FF736C}" dt="2024-09-17T10:55:11.821" v="246" actId="1076"/>
          <ac:spMkLst>
            <pc:docMk/>
            <pc:sldMk cId="1319285846" sldId="2147479606"/>
            <ac:spMk id="32" creationId="{05E02590-04EC-A16B-BA14-0AEBA4DA6A57}"/>
          </ac:spMkLst>
        </pc:spChg>
        <pc:spChg chg="add mod">
          <ac:chgData name="Saudamini Bagai" userId="4bf985b8-0270-42f3-98ed-54277e631382" providerId="ADAL" clId="{834C7B38-258A-4C63-B1F6-91E0E7FF736C}" dt="2024-09-17T10:55:25.007" v="252" actId="20577"/>
          <ac:spMkLst>
            <pc:docMk/>
            <pc:sldMk cId="1319285846" sldId="2147479606"/>
            <ac:spMk id="33" creationId="{6FE33241-E452-F39D-5B5B-E12C5D2ABD67}"/>
          </ac:spMkLst>
        </pc:spChg>
        <pc:spChg chg="mod">
          <ac:chgData name="Saudamini Bagai" userId="4bf985b8-0270-42f3-98ed-54277e631382" providerId="ADAL" clId="{834C7B38-258A-4C63-B1F6-91E0E7FF736C}" dt="2024-09-17T10:41:15.011" v="3" actId="20577"/>
          <ac:spMkLst>
            <pc:docMk/>
            <pc:sldMk cId="1319285846" sldId="2147479606"/>
            <ac:spMk id="109" creationId="{D1FF0838-BBC0-4332-B4CA-B2C8B1FE643C}"/>
          </ac:spMkLst>
        </pc:spChg>
        <pc:spChg chg="mod">
          <ac:chgData name="Saudamini Bagai" userId="4bf985b8-0270-42f3-98ed-54277e631382" providerId="ADAL" clId="{834C7B38-258A-4C63-B1F6-91E0E7FF736C}" dt="2024-09-17T10:41:27.625" v="7"/>
          <ac:spMkLst>
            <pc:docMk/>
            <pc:sldMk cId="1319285846" sldId="2147479606"/>
            <ac:spMk id="111" creationId="{00D07B54-7F70-4BF2-BE22-0E02CA732BEB}"/>
          </ac:spMkLst>
        </pc:spChg>
        <pc:spChg chg="mod">
          <ac:chgData name="Saudamini Bagai" userId="4bf985b8-0270-42f3-98ed-54277e631382" providerId="ADAL" clId="{834C7B38-258A-4C63-B1F6-91E0E7FF736C}" dt="2024-09-17T10:42:28.253" v="38" actId="20577"/>
          <ac:spMkLst>
            <pc:docMk/>
            <pc:sldMk cId="1319285846" sldId="2147479606"/>
            <ac:spMk id="120" creationId="{1957ACEF-1EB8-40B3-935A-F5C167DF512D}"/>
          </ac:spMkLst>
        </pc:spChg>
        <pc:spChg chg="mod">
          <ac:chgData name="Saudamini Bagai" userId="4bf985b8-0270-42f3-98ed-54277e631382" providerId="ADAL" clId="{834C7B38-258A-4C63-B1F6-91E0E7FF736C}" dt="2024-09-17T10:42:48.347" v="69" actId="20577"/>
          <ac:spMkLst>
            <pc:docMk/>
            <pc:sldMk cId="1319285846" sldId="2147479606"/>
            <ac:spMk id="121" creationId="{79A2DABA-FD19-44CC-BD4F-E01952E639FA}"/>
          </ac:spMkLst>
        </pc:spChg>
        <pc:spChg chg="mod">
          <ac:chgData name="Saudamini Bagai" userId="4bf985b8-0270-42f3-98ed-54277e631382" providerId="ADAL" clId="{834C7B38-258A-4C63-B1F6-91E0E7FF736C}" dt="2024-09-17T10:42:09.144" v="31"/>
          <ac:spMkLst>
            <pc:docMk/>
            <pc:sldMk cId="1319285846" sldId="2147479606"/>
            <ac:spMk id="308" creationId="{B4B8452D-EB0D-4AB6-A91C-22F9E76B07D7}"/>
          </ac:spMkLst>
        </pc:spChg>
        <pc:spChg chg="mod">
          <ac:chgData name="Saudamini Bagai" userId="4bf985b8-0270-42f3-98ed-54277e631382" providerId="ADAL" clId="{834C7B38-258A-4C63-B1F6-91E0E7FF736C}" dt="2024-09-17T10:55:16.057" v="248" actId="20577"/>
          <ac:spMkLst>
            <pc:docMk/>
            <pc:sldMk cId="1319285846" sldId="2147479606"/>
            <ac:spMk id="319" creationId="{04A7A74E-D993-4663-B6E1-0C7ECECC8C90}"/>
          </ac:spMkLst>
        </pc:spChg>
      </pc:sldChg>
      <pc:sldChg chg="modSp mod">
        <pc:chgData name="Saudamini Bagai" userId="4bf985b8-0270-42f3-98ed-54277e631382" providerId="ADAL" clId="{834C7B38-258A-4C63-B1F6-91E0E7FF736C}" dt="2024-09-17T10:53:32.542" v="202" actId="1076"/>
        <pc:sldMkLst>
          <pc:docMk/>
          <pc:sldMk cId="3584055216" sldId="2147479607"/>
        </pc:sldMkLst>
        <pc:spChg chg="mod">
          <ac:chgData name="Saudamini Bagai" userId="4bf985b8-0270-42f3-98ed-54277e631382" providerId="ADAL" clId="{834C7B38-258A-4C63-B1F6-91E0E7FF736C}" dt="2024-09-17T10:51:38.959" v="151" actId="1076"/>
          <ac:spMkLst>
            <pc:docMk/>
            <pc:sldMk cId="3584055216" sldId="2147479607"/>
            <ac:spMk id="16" creationId="{47276310-3D43-44F3-900E-1CDE36B202DC}"/>
          </ac:spMkLst>
        </pc:spChg>
        <pc:spChg chg="mod">
          <ac:chgData name="Saudamini Bagai" userId="4bf985b8-0270-42f3-98ed-54277e631382" providerId="ADAL" clId="{834C7B38-258A-4C63-B1F6-91E0E7FF736C}" dt="2024-09-17T10:52:21.122" v="172" actId="1076"/>
          <ac:spMkLst>
            <pc:docMk/>
            <pc:sldMk cId="3584055216" sldId="2147479607"/>
            <ac:spMk id="17" creationId="{94C5E4F9-6B0F-47E3-A38C-F09AF43E06B6}"/>
          </ac:spMkLst>
        </pc:spChg>
        <pc:spChg chg="mod">
          <ac:chgData name="Saudamini Bagai" userId="4bf985b8-0270-42f3-98ed-54277e631382" providerId="ADAL" clId="{834C7B38-258A-4C63-B1F6-91E0E7FF736C}" dt="2024-09-17T10:53:32.542" v="202" actId="1076"/>
          <ac:spMkLst>
            <pc:docMk/>
            <pc:sldMk cId="3584055216" sldId="2147479607"/>
            <ac:spMk id="122" creationId="{5DBC31F9-6CE4-4EB6-A7DB-647529866FF7}"/>
          </ac:spMkLst>
        </pc:spChg>
        <pc:spChg chg="mod">
          <ac:chgData name="Saudamini Bagai" userId="4bf985b8-0270-42f3-98ed-54277e631382" providerId="ADAL" clId="{834C7B38-258A-4C63-B1F6-91E0E7FF736C}" dt="2024-09-17T10:52:48.973" v="196" actId="20577"/>
          <ac:spMkLst>
            <pc:docMk/>
            <pc:sldMk cId="3584055216" sldId="2147479607"/>
            <ac:spMk id="123" creationId="{772F6479-E339-4405-BA83-8ED96278FAFA}"/>
          </ac:spMkLst>
        </pc:spChg>
        <pc:spChg chg="mod">
          <ac:chgData name="Saudamini Bagai" userId="4bf985b8-0270-42f3-98ed-54277e631382" providerId="ADAL" clId="{834C7B38-258A-4C63-B1F6-91E0E7FF736C}" dt="2024-09-17T10:42:38.466" v="40" actId="1076"/>
          <ac:spMkLst>
            <pc:docMk/>
            <pc:sldMk cId="3584055216" sldId="2147479607"/>
            <ac:spMk id="125" creationId="{FBF2B9A4-AD05-4AE1-9C16-DBDFE88EE883}"/>
          </ac:spMkLst>
        </pc:spChg>
        <pc:spChg chg="mod">
          <ac:chgData name="Saudamini Bagai" userId="4bf985b8-0270-42f3-98ed-54277e631382" providerId="ADAL" clId="{834C7B38-258A-4C63-B1F6-91E0E7FF736C}" dt="2024-09-17T10:53:28.509" v="201" actId="1076"/>
          <ac:spMkLst>
            <pc:docMk/>
            <pc:sldMk cId="3584055216" sldId="2147479607"/>
            <ac:spMk id="128" creationId="{04A7A74E-D993-4663-B6E1-0C7ECECC8C90}"/>
          </ac:spMkLst>
        </pc:spChg>
        <pc:spChg chg="mod">
          <ac:chgData name="Saudamini Bagai" userId="4bf985b8-0270-42f3-98ed-54277e631382" providerId="ADAL" clId="{834C7B38-258A-4C63-B1F6-91E0E7FF736C}" dt="2024-09-17T10:53:09.316" v="198" actId="1076"/>
          <ac:spMkLst>
            <pc:docMk/>
            <pc:sldMk cId="3584055216" sldId="2147479607"/>
            <ac:spMk id="256" creationId="{EEFD1417-24AA-466F-852D-24E16F5A5C38}"/>
          </ac:spMkLst>
        </pc:spChg>
        <pc:spChg chg="mod">
          <ac:chgData name="Saudamini Bagai" userId="4bf985b8-0270-42f3-98ed-54277e631382" providerId="ADAL" clId="{834C7B38-258A-4C63-B1F6-91E0E7FF736C}" dt="2024-09-17T10:41:57.247" v="27" actId="20577"/>
          <ac:spMkLst>
            <pc:docMk/>
            <pc:sldMk cId="3584055216" sldId="2147479607"/>
            <ac:spMk id="308" creationId="{B4B8452D-EB0D-4AB6-A91C-22F9E76B07D7}"/>
          </ac:spMkLst>
        </pc:spChg>
        <pc:spChg chg="mod">
          <ac:chgData name="Saudamini Bagai" userId="4bf985b8-0270-42f3-98ed-54277e631382" providerId="ADAL" clId="{834C7B38-258A-4C63-B1F6-91E0E7FF736C}" dt="2024-09-17T10:52:37.151" v="175" actId="1076"/>
          <ac:spMkLst>
            <pc:docMk/>
            <pc:sldMk cId="3584055216" sldId="2147479607"/>
            <ac:spMk id="319" creationId="{04A7A74E-D993-4663-B6E1-0C7ECECC8C90}"/>
          </ac:spMkLst>
        </pc:spChg>
      </pc:sldChg>
    </pc:docChg>
  </pc:docChgLst>
</pc:chgInfo>
</file>

<file path=ppt/diagrams/_rels/data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jpg"/><Relationship Id="rId4" Type="http://schemas.openxmlformats.org/officeDocument/2006/relationships/image" Target="../media/image14.png"/></Relationships>
</file>

<file path=ppt/diagrams/_rels/drawing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jpg"/><Relationship Id="rId4" Type="http://schemas.openxmlformats.org/officeDocument/2006/relationships/image" Target="../media/image14.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022A4C-684A-4249-8DA9-75F8AD1AB50A}"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tr-TR"/>
        </a:p>
      </dgm:t>
    </dgm:pt>
    <dgm:pt modelId="{E2442608-20F6-4520-8F49-7992E2714D10}">
      <dgm:prSet phldrT="[Metin]"/>
      <dgm:spPr/>
      <dgm:t>
        <a:bodyPr/>
        <a:lstStyle/>
        <a:p>
          <a:r>
            <a:rPr lang="tr-TR" dirty="0" smtClean="0">
              <a:latin typeface="Calibri" panose="020F0502020204030204" pitchFamily="34" charset="0"/>
              <a:cs typeface="Calibri" panose="020F0502020204030204" pitchFamily="34" charset="0"/>
            </a:rPr>
            <a:t>AFOLU </a:t>
          </a:r>
          <a:r>
            <a:rPr lang="tr-TR" dirty="0" err="1" smtClean="0">
              <a:latin typeface="Calibri" panose="020F0502020204030204" pitchFamily="34" charset="0"/>
              <a:cs typeface="Calibri" panose="020F0502020204030204" pitchFamily="34" charset="0"/>
            </a:rPr>
            <a:t>Sector</a:t>
          </a:r>
          <a:r>
            <a:rPr lang="tr-TR" dirty="0" smtClean="0">
              <a:latin typeface="Calibri" panose="020F0502020204030204" pitchFamily="34" charset="0"/>
              <a:cs typeface="Calibri" panose="020F0502020204030204" pitchFamily="34" charset="0"/>
            </a:rPr>
            <a:t> Role</a:t>
          </a:r>
          <a:endParaRPr lang="tr-TR" dirty="0">
            <a:latin typeface="Calibri" panose="020F0502020204030204" pitchFamily="34" charset="0"/>
            <a:cs typeface="Calibri" panose="020F0502020204030204" pitchFamily="34" charset="0"/>
          </a:endParaRPr>
        </a:p>
      </dgm:t>
    </dgm:pt>
    <dgm:pt modelId="{FD89D860-E7FF-45A0-8F5E-06B6B6C4DC62}" type="parTrans" cxnId="{C7B7A633-3316-4A64-B51A-2009DD5DDCEC}">
      <dgm:prSet/>
      <dgm:spPr/>
      <dgm:t>
        <a:bodyPr/>
        <a:lstStyle/>
        <a:p>
          <a:endParaRPr lang="tr-TR"/>
        </a:p>
      </dgm:t>
    </dgm:pt>
    <dgm:pt modelId="{ACA8628C-6663-46D4-B6AC-FDFB1D11FD78}" type="sibTrans" cxnId="{C7B7A633-3316-4A64-B51A-2009DD5DDCEC}">
      <dgm:prSet/>
      <dgm:spPr/>
      <dgm:t>
        <a:bodyPr/>
        <a:lstStyle/>
        <a:p>
          <a:endParaRPr lang="tr-TR"/>
        </a:p>
      </dgm:t>
    </dgm:pt>
    <dgm:pt modelId="{982CC9C7-70CB-4FEF-B506-D35F2F480EB7}">
      <dgm:prSet phldrT="[Metin]"/>
      <dgm:spPr/>
      <dgm:t>
        <a:bodyPr/>
        <a:lstStyle/>
        <a:p>
          <a:r>
            <a:rPr lang="en-US" dirty="0" smtClean="0">
              <a:latin typeface="Calibri" panose="020F0502020204030204" pitchFamily="34" charset="0"/>
              <a:cs typeface="Calibri" panose="020F0502020204030204" pitchFamily="34" charset="0"/>
            </a:rPr>
            <a:t>Agriculture and forestry play a critical role in </a:t>
          </a:r>
          <a:r>
            <a:rPr lang="en-US" dirty="0" err="1" smtClean="0">
              <a:latin typeface="Calibri" panose="020F0502020204030204" pitchFamily="34" charset="0"/>
              <a:cs typeface="Calibri" panose="020F0502020204030204" pitchFamily="34" charset="0"/>
            </a:rPr>
            <a:t>Türkiye’s</a:t>
          </a:r>
          <a:r>
            <a:rPr lang="en-US" dirty="0" smtClean="0">
              <a:latin typeface="Calibri" panose="020F0502020204030204" pitchFamily="34" charset="0"/>
              <a:cs typeface="Calibri" panose="020F0502020204030204" pitchFamily="34" charset="0"/>
            </a:rPr>
            <a:t> 2053 net-zero target </a:t>
          </a:r>
          <a:r>
            <a:rPr lang="tr-TR" dirty="0" err="1" smtClean="0">
              <a:latin typeface="Calibri" panose="020F0502020204030204" pitchFamily="34" charset="0"/>
              <a:cs typeface="Calibri" panose="020F0502020204030204" pitchFamily="34" charset="0"/>
            </a:rPr>
            <a:t>with</a:t>
          </a:r>
          <a:r>
            <a:rPr lang="tr-TR" dirty="0" smtClean="0">
              <a:latin typeface="Calibri" panose="020F0502020204030204" pitchFamily="34" charset="0"/>
              <a:cs typeface="Calibri" panose="020F0502020204030204" pitchFamily="34" charset="0"/>
            </a:rPr>
            <a:t> </a:t>
          </a:r>
          <a:r>
            <a:rPr lang="en-US" dirty="0" smtClean="0">
              <a:latin typeface="Calibri" panose="020F0502020204030204" pitchFamily="34" charset="0"/>
              <a:cs typeface="Calibri" panose="020F0502020204030204" pitchFamily="34" charset="0"/>
            </a:rPr>
            <a:t>their </a:t>
          </a:r>
          <a:r>
            <a:rPr lang="en-US" b="1" dirty="0" smtClean="0">
              <a:latin typeface="Calibri" panose="020F0502020204030204" pitchFamily="34" charset="0"/>
              <a:cs typeface="Calibri" panose="020F0502020204030204" pitchFamily="34" charset="0"/>
            </a:rPr>
            <a:t>carbon sink capacity and strong mitigation potential.</a:t>
          </a:r>
          <a:endParaRPr lang="tr-TR" b="1" dirty="0">
            <a:latin typeface="Calibri" panose="020F0502020204030204" pitchFamily="34" charset="0"/>
            <a:cs typeface="Calibri" panose="020F0502020204030204" pitchFamily="34" charset="0"/>
          </a:endParaRPr>
        </a:p>
      </dgm:t>
    </dgm:pt>
    <dgm:pt modelId="{D5EC5570-8514-4FED-BC7B-F97FCF613EE9}" type="parTrans" cxnId="{B6452844-FB13-4FA4-A5D6-2536BE3D1A0D}">
      <dgm:prSet/>
      <dgm:spPr/>
      <dgm:t>
        <a:bodyPr/>
        <a:lstStyle/>
        <a:p>
          <a:endParaRPr lang="tr-TR"/>
        </a:p>
      </dgm:t>
    </dgm:pt>
    <dgm:pt modelId="{E039BBF8-7436-4968-81D8-7F1409CC3775}" type="sibTrans" cxnId="{B6452844-FB13-4FA4-A5D6-2536BE3D1A0D}">
      <dgm:prSet/>
      <dgm:spPr/>
      <dgm:t>
        <a:bodyPr/>
        <a:lstStyle/>
        <a:p>
          <a:endParaRPr lang="tr-TR"/>
        </a:p>
      </dgm:t>
    </dgm:pt>
    <dgm:pt modelId="{B6DF7990-62E2-42B1-B03E-BD2CA2CF638A}">
      <dgm:prSet phldrT="[Metin]"/>
      <dgm:spPr/>
      <dgm:t>
        <a:bodyPr/>
        <a:lstStyle/>
        <a:p>
          <a:r>
            <a:rPr lang="tr-TR" dirty="0" err="1" smtClean="0">
              <a:latin typeface="Calibri" panose="020F0502020204030204" pitchFamily="34" charset="0"/>
              <a:cs typeface="Calibri" panose="020F0502020204030204" pitchFamily="34" charset="0"/>
            </a:rPr>
            <a:t>Capacity</a:t>
          </a:r>
          <a:r>
            <a:rPr lang="tr-TR" dirty="0" smtClean="0">
              <a:latin typeface="Calibri" panose="020F0502020204030204" pitchFamily="34" charset="0"/>
              <a:cs typeface="Calibri" panose="020F0502020204030204" pitchFamily="34" charset="0"/>
            </a:rPr>
            <a:t> &amp; </a:t>
          </a:r>
          <a:r>
            <a:rPr lang="tr-TR" dirty="0" err="1" smtClean="0">
              <a:latin typeface="Calibri" panose="020F0502020204030204" pitchFamily="34" charset="0"/>
              <a:cs typeface="Calibri" panose="020F0502020204030204" pitchFamily="34" charset="0"/>
            </a:rPr>
            <a:t>Policy</a:t>
          </a:r>
          <a:r>
            <a:rPr lang="tr-TR" dirty="0" smtClean="0">
              <a:latin typeface="Calibri" panose="020F0502020204030204" pitchFamily="34" charset="0"/>
              <a:cs typeface="Calibri" panose="020F0502020204030204" pitchFamily="34" charset="0"/>
            </a:rPr>
            <a:t> Development</a:t>
          </a:r>
          <a:endParaRPr lang="tr-TR" dirty="0">
            <a:latin typeface="Calibri" panose="020F0502020204030204" pitchFamily="34" charset="0"/>
            <a:cs typeface="Calibri" panose="020F0502020204030204" pitchFamily="34" charset="0"/>
          </a:endParaRPr>
        </a:p>
      </dgm:t>
    </dgm:pt>
    <dgm:pt modelId="{1A09B9DD-E06E-4D63-B980-FE246BE2BFD3}" type="parTrans" cxnId="{4234ED57-BD0D-40FD-B5D9-6275C9AD07B0}">
      <dgm:prSet/>
      <dgm:spPr/>
      <dgm:t>
        <a:bodyPr/>
        <a:lstStyle/>
        <a:p>
          <a:endParaRPr lang="tr-TR"/>
        </a:p>
      </dgm:t>
    </dgm:pt>
    <dgm:pt modelId="{3042E533-EC84-4934-9441-5942693190D6}" type="sibTrans" cxnId="{4234ED57-BD0D-40FD-B5D9-6275C9AD07B0}">
      <dgm:prSet/>
      <dgm:spPr/>
      <dgm:t>
        <a:bodyPr/>
        <a:lstStyle/>
        <a:p>
          <a:endParaRPr lang="tr-TR"/>
        </a:p>
      </dgm:t>
    </dgm:pt>
    <dgm:pt modelId="{4ED185BE-70E2-484A-9493-40453EABB84A}">
      <dgm:prSet phldrT="[Metin]"/>
      <dgm:spPr/>
      <dgm:t>
        <a:bodyPr/>
        <a:lstStyle/>
        <a:p>
          <a:pPr rtl="0"/>
          <a:r>
            <a:rPr lang="en-US" b="0" i="0" u="none" dirty="0" smtClean="0">
              <a:latin typeface="Calibri" panose="020F0502020204030204" pitchFamily="34" charset="0"/>
              <a:cs typeface="Calibri" panose="020F0502020204030204" pitchFamily="34" charset="0"/>
            </a:rPr>
            <a:t>The project will </a:t>
          </a:r>
          <a:r>
            <a:rPr lang="en-US" b="1" i="0" u="none" dirty="0" smtClean="0">
              <a:latin typeface="Calibri" panose="020F0502020204030204" pitchFamily="34" charset="0"/>
              <a:cs typeface="Calibri" panose="020F0502020204030204" pitchFamily="34" charset="0"/>
            </a:rPr>
            <a:t>strengthen institutional and technical capacity</a:t>
          </a:r>
          <a:r>
            <a:rPr lang="en-US" b="0" i="0" u="none" dirty="0" smtClean="0">
              <a:latin typeface="Calibri" panose="020F0502020204030204" pitchFamily="34" charset="0"/>
              <a:cs typeface="Calibri" panose="020F0502020204030204" pitchFamily="34" charset="0"/>
            </a:rPr>
            <a:t>, foster the development of national experts, and support the design and implementation of integrated climate policies.</a:t>
          </a:r>
          <a:endParaRPr lang="tr-TR" dirty="0">
            <a:latin typeface="Calibri" panose="020F0502020204030204" pitchFamily="34" charset="0"/>
            <a:cs typeface="Calibri" panose="020F0502020204030204" pitchFamily="34" charset="0"/>
          </a:endParaRPr>
        </a:p>
      </dgm:t>
    </dgm:pt>
    <dgm:pt modelId="{683D87E5-E201-4C0B-A694-3482CF5B0D8C}" type="parTrans" cxnId="{FF864210-FDA9-4A0E-896D-FF50CE847F5B}">
      <dgm:prSet/>
      <dgm:spPr/>
      <dgm:t>
        <a:bodyPr/>
        <a:lstStyle/>
        <a:p>
          <a:endParaRPr lang="tr-TR"/>
        </a:p>
      </dgm:t>
    </dgm:pt>
    <dgm:pt modelId="{FDD4D2C2-28CF-44C6-9803-29BF49B9C85F}" type="sibTrans" cxnId="{FF864210-FDA9-4A0E-896D-FF50CE847F5B}">
      <dgm:prSet/>
      <dgm:spPr/>
      <dgm:t>
        <a:bodyPr/>
        <a:lstStyle/>
        <a:p>
          <a:endParaRPr lang="tr-TR"/>
        </a:p>
      </dgm:t>
    </dgm:pt>
    <dgm:pt modelId="{C44775B4-408A-43F0-87D8-E21B542D7E26}">
      <dgm:prSet phldrT="[Metin]"/>
      <dgm:spPr/>
      <dgm:t>
        <a:bodyPr/>
        <a:lstStyle/>
        <a:p>
          <a:r>
            <a:rPr lang="tr-TR" dirty="0" smtClean="0">
              <a:latin typeface="Calibri" panose="020F0502020204030204" pitchFamily="34" charset="0"/>
              <a:cs typeface="Calibri" panose="020F0502020204030204" pitchFamily="34" charset="0"/>
            </a:rPr>
            <a:t>Integration &amp; </a:t>
          </a:r>
          <a:r>
            <a:rPr lang="tr-TR" dirty="0" err="1" smtClean="0">
              <a:latin typeface="Calibri" panose="020F0502020204030204" pitchFamily="34" charset="0"/>
              <a:cs typeface="Calibri" panose="020F0502020204030204" pitchFamily="34" charset="0"/>
            </a:rPr>
            <a:t>Co-benefits</a:t>
          </a:r>
          <a:endParaRPr lang="tr-TR" dirty="0">
            <a:latin typeface="Calibri" panose="020F0502020204030204" pitchFamily="34" charset="0"/>
            <a:cs typeface="Calibri" panose="020F0502020204030204" pitchFamily="34" charset="0"/>
          </a:endParaRPr>
        </a:p>
      </dgm:t>
    </dgm:pt>
    <dgm:pt modelId="{93C8C8B0-0A10-4324-BD98-A0A05C68FB13}" type="parTrans" cxnId="{A4CDC26C-5A62-45F5-9168-330A018A778D}">
      <dgm:prSet/>
      <dgm:spPr/>
      <dgm:t>
        <a:bodyPr/>
        <a:lstStyle/>
        <a:p>
          <a:endParaRPr lang="tr-TR"/>
        </a:p>
      </dgm:t>
    </dgm:pt>
    <dgm:pt modelId="{EC59E97E-25EE-477D-B8BD-73230A647D90}" type="sibTrans" cxnId="{A4CDC26C-5A62-45F5-9168-330A018A778D}">
      <dgm:prSet/>
      <dgm:spPr/>
      <dgm:t>
        <a:bodyPr/>
        <a:lstStyle/>
        <a:p>
          <a:endParaRPr lang="tr-TR"/>
        </a:p>
      </dgm:t>
    </dgm:pt>
    <dgm:pt modelId="{DDE0C85B-535A-488B-BFD0-FB50E609F25E}">
      <dgm:prSet phldrT="[Metin]"/>
      <dgm:spPr/>
      <dgm:t>
        <a:bodyPr/>
        <a:lstStyle/>
        <a:p>
          <a:r>
            <a:rPr lang="en-US" b="0" i="0" u="none" dirty="0" smtClean="0">
              <a:latin typeface="Calibri" panose="020F0502020204030204" pitchFamily="34" charset="0"/>
              <a:cs typeface="Calibri" panose="020F0502020204030204" pitchFamily="34" charset="0"/>
            </a:rPr>
            <a:t>Contributes directly to NDCs, LTS, implementation tools, monitoring &amp; reporting. </a:t>
          </a:r>
          <a:endParaRPr lang="tr-TR" dirty="0">
            <a:latin typeface="Calibri" panose="020F0502020204030204" pitchFamily="34" charset="0"/>
            <a:cs typeface="Calibri" panose="020F0502020204030204" pitchFamily="34" charset="0"/>
          </a:endParaRPr>
        </a:p>
      </dgm:t>
    </dgm:pt>
    <dgm:pt modelId="{90D2E2F7-34D8-4C5B-9682-DC09049375F3}" type="parTrans" cxnId="{1CE3E23A-4FB5-432D-BFF6-720BA9EE0868}">
      <dgm:prSet/>
      <dgm:spPr/>
      <dgm:t>
        <a:bodyPr/>
        <a:lstStyle/>
        <a:p>
          <a:endParaRPr lang="tr-TR"/>
        </a:p>
      </dgm:t>
    </dgm:pt>
    <dgm:pt modelId="{0EE8D4F3-3F07-40A9-9864-9E9BDD4A5623}" type="sibTrans" cxnId="{1CE3E23A-4FB5-432D-BFF6-720BA9EE0868}">
      <dgm:prSet/>
      <dgm:spPr/>
      <dgm:t>
        <a:bodyPr/>
        <a:lstStyle/>
        <a:p>
          <a:endParaRPr lang="tr-TR"/>
        </a:p>
      </dgm:t>
    </dgm:pt>
    <dgm:pt modelId="{F635026A-A6C0-4576-A36A-492E6B78321F}">
      <dgm:prSet phldrT="[Metin]"/>
      <dgm:spPr>
        <a:solidFill>
          <a:schemeClr val="accent5">
            <a:lumMod val="60000"/>
            <a:lumOff val="40000"/>
          </a:schemeClr>
        </a:solidFill>
      </dgm:spPr>
      <dgm:t>
        <a:bodyPr/>
        <a:lstStyle/>
        <a:p>
          <a:r>
            <a:rPr lang="tr-TR" dirty="0" smtClean="0">
              <a:latin typeface="Calibri" panose="020F0502020204030204" pitchFamily="34" charset="0"/>
              <a:cs typeface="Calibri" panose="020F0502020204030204" pitchFamily="34" charset="0"/>
            </a:rPr>
            <a:t>Paris </a:t>
          </a:r>
          <a:r>
            <a:rPr lang="tr-TR" dirty="0" err="1" smtClean="0">
              <a:latin typeface="Calibri" panose="020F0502020204030204" pitchFamily="34" charset="0"/>
              <a:cs typeface="Calibri" panose="020F0502020204030204" pitchFamily="34" charset="0"/>
            </a:rPr>
            <a:t>Agreement</a:t>
          </a:r>
          <a:r>
            <a:rPr lang="tr-TR" dirty="0" smtClean="0">
              <a:latin typeface="Calibri" panose="020F0502020204030204" pitchFamily="34" charset="0"/>
              <a:cs typeface="Calibri" panose="020F0502020204030204" pitchFamily="34" charset="0"/>
            </a:rPr>
            <a:t> &amp; CMA </a:t>
          </a:r>
          <a:r>
            <a:rPr lang="tr-TR" dirty="0" err="1" smtClean="0">
              <a:latin typeface="Calibri" panose="020F0502020204030204" pitchFamily="34" charset="0"/>
              <a:cs typeface="Calibri" panose="020F0502020204030204" pitchFamily="34" charset="0"/>
            </a:rPr>
            <a:t>Alignment</a:t>
          </a:r>
          <a:r>
            <a:rPr lang="tr-TR" dirty="0" smtClean="0">
              <a:latin typeface="Calibri" panose="020F0502020204030204" pitchFamily="34" charset="0"/>
              <a:cs typeface="Calibri" panose="020F0502020204030204" pitchFamily="34" charset="0"/>
            </a:rPr>
            <a:t> </a:t>
          </a:r>
          <a:r>
            <a:rPr lang="tr-TR" dirty="0" err="1" smtClean="0">
              <a:latin typeface="Calibri" panose="020F0502020204030204" pitchFamily="34" charset="0"/>
              <a:cs typeface="Calibri" panose="020F0502020204030204" pitchFamily="34" charset="0"/>
            </a:rPr>
            <a:t>Co-benefits</a:t>
          </a:r>
          <a:endParaRPr lang="tr-TR" dirty="0">
            <a:latin typeface="Calibri" panose="020F0502020204030204" pitchFamily="34" charset="0"/>
            <a:cs typeface="Calibri" panose="020F0502020204030204" pitchFamily="34" charset="0"/>
          </a:endParaRPr>
        </a:p>
      </dgm:t>
    </dgm:pt>
    <dgm:pt modelId="{80F03C83-46A2-48A4-8C46-14ADA4898680}" type="sibTrans" cxnId="{079DDD5B-D134-4CCD-8995-85D23BF83B99}">
      <dgm:prSet/>
      <dgm:spPr/>
      <dgm:t>
        <a:bodyPr/>
        <a:lstStyle/>
        <a:p>
          <a:endParaRPr lang="tr-TR"/>
        </a:p>
      </dgm:t>
    </dgm:pt>
    <dgm:pt modelId="{B22A5203-60D6-44B6-95CC-AC73479D8587}" type="parTrans" cxnId="{079DDD5B-D134-4CCD-8995-85D23BF83B99}">
      <dgm:prSet/>
      <dgm:spPr/>
      <dgm:t>
        <a:bodyPr/>
        <a:lstStyle/>
        <a:p>
          <a:endParaRPr lang="tr-TR"/>
        </a:p>
      </dgm:t>
    </dgm:pt>
    <dgm:pt modelId="{BD1B0124-E110-438C-A42F-27E1D2C805A7}">
      <dgm:prSet phldrT="[Metin]"/>
      <dgm:spPr/>
      <dgm:t>
        <a:bodyPr/>
        <a:lstStyle/>
        <a:p>
          <a:r>
            <a:rPr lang="en-US" b="0" i="0" u="none" dirty="0" smtClean="0">
              <a:latin typeface="Calibri" panose="020F0502020204030204" pitchFamily="34" charset="0"/>
              <a:cs typeface="Calibri" panose="020F0502020204030204" pitchFamily="34" charset="0"/>
            </a:rPr>
            <a:t>Beyond mitigation, it ensures adaptation, ecosystem protection, sustainable land use, and policy coherence</a:t>
          </a:r>
          <a:endParaRPr lang="tr-TR" dirty="0">
            <a:latin typeface="Calibri" panose="020F0502020204030204" pitchFamily="34" charset="0"/>
            <a:cs typeface="Calibri" panose="020F0502020204030204" pitchFamily="34" charset="0"/>
          </a:endParaRPr>
        </a:p>
      </dgm:t>
    </dgm:pt>
    <dgm:pt modelId="{9DD979D7-9F1A-445B-8A9A-7BE156CE6994}" type="parTrans" cxnId="{E8A593CD-738A-4B20-8CF9-03146E94F81F}">
      <dgm:prSet/>
      <dgm:spPr/>
      <dgm:t>
        <a:bodyPr/>
        <a:lstStyle/>
        <a:p>
          <a:endParaRPr lang="tr-TR"/>
        </a:p>
      </dgm:t>
    </dgm:pt>
    <dgm:pt modelId="{B9B65B8C-BD97-45D4-A642-7600B13D4FA9}" type="sibTrans" cxnId="{E8A593CD-738A-4B20-8CF9-03146E94F81F}">
      <dgm:prSet/>
      <dgm:spPr/>
      <dgm:t>
        <a:bodyPr/>
        <a:lstStyle/>
        <a:p>
          <a:endParaRPr lang="tr-TR"/>
        </a:p>
      </dgm:t>
    </dgm:pt>
    <dgm:pt modelId="{F8D663F7-CBBD-4B96-B42F-720E4978048F}">
      <dgm:prSet phldrT="[Metin]"/>
      <dgm:spPr/>
      <dgm:t>
        <a:bodyPr/>
        <a:lstStyle/>
        <a:p>
          <a:r>
            <a:rPr lang="en-US" dirty="0" smtClean="0">
              <a:solidFill>
                <a:schemeClr val="tx1"/>
              </a:solidFill>
            </a:rPr>
            <a:t>Fully </a:t>
          </a:r>
          <a:r>
            <a:rPr lang="en-US" dirty="0" smtClean="0">
              <a:solidFill>
                <a:schemeClr val="tx1"/>
              </a:solidFill>
              <a:latin typeface="Calibri" panose="020F0502020204030204" pitchFamily="34" charset="0"/>
              <a:cs typeface="Calibri" panose="020F0502020204030204" pitchFamily="34" charset="0"/>
            </a:rPr>
            <a:t>consistent with </a:t>
          </a:r>
          <a:r>
            <a:rPr lang="en-US" dirty="0" err="1" smtClean="0">
              <a:solidFill>
                <a:schemeClr val="tx1"/>
              </a:solidFill>
              <a:latin typeface="Calibri" panose="020F0502020204030204" pitchFamily="34" charset="0"/>
              <a:cs typeface="Calibri" panose="020F0502020204030204" pitchFamily="34" charset="0"/>
            </a:rPr>
            <a:t>Türkiye’s</a:t>
          </a:r>
          <a:r>
            <a:rPr lang="en-US" dirty="0" smtClean="0">
              <a:solidFill>
                <a:schemeClr val="tx1"/>
              </a:solidFill>
              <a:latin typeface="Calibri" panose="020F0502020204030204" pitchFamily="34" charset="0"/>
              <a:cs typeface="Calibri" panose="020F0502020204030204" pitchFamily="34" charset="0"/>
            </a:rPr>
            <a:t> commitments under Article 4.1 (long-term mitigation pathways) and Article 13.7 (</a:t>
          </a:r>
          <a:r>
            <a:rPr lang="en-US" dirty="0" smtClean="0">
              <a:latin typeface="Calibri" panose="020F0502020204030204" pitchFamily="34" charset="0"/>
              <a:cs typeface="Calibri" panose="020F0502020204030204" pitchFamily="34" charset="0"/>
            </a:rPr>
            <a:t>transparency and reporting) of the Paris Agreement, as well as CMA Decision 4/CMA.1 (NDC accounting) and Decision 18/CMA.1 (ETF reporting)</a:t>
          </a:r>
          <a:endParaRPr lang="tr-TR" dirty="0">
            <a:latin typeface="Calibri" panose="020F0502020204030204" pitchFamily="34" charset="0"/>
            <a:cs typeface="Calibri" panose="020F0502020204030204" pitchFamily="34" charset="0"/>
          </a:endParaRPr>
        </a:p>
      </dgm:t>
    </dgm:pt>
    <dgm:pt modelId="{D4617F99-93B0-4158-A9E6-87D988C1E43C}" type="sibTrans" cxnId="{62394779-BFBD-4394-9FE3-1A950F84CB35}">
      <dgm:prSet/>
      <dgm:spPr/>
      <dgm:t>
        <a:bodyPr/>
        <a:lstStyle/>
        <a:p>
          <a:endParaRPr lang="tr-TR"/>
        </a:p>
      </dgm:t>
    </dgm:pt>
    <dgm:pt modelId="{87847DE7-9015-4DAD-91CA-41D3A1E12541}" type="parTrans" cxnId="{62394779-BFBD-4394-9FE3-1A950F84CB35}">
      <dgm:prSet/>
      <dgm:spPr/>
      <dgm:t>
        <a:bodyPr/>
        <a:lstStyle/>
        <a:p>
          <a:endParaRPr lang="tr-TR"/>
        </a:p>
      </dgm:t>
    </dgm:pt>
    <dgm:pt modelId="{D4AFB4CF-EF44-41AF-AF07-4435C0B8D77F}" type="pres">
      <dgm:prSet presAssocID="{39022A4C-684A-4249-8DA9-75F8AD1AB50A}" presName="linear" presStyleCnt="0">
        <dgm:presLayoutVars>
          <dgm:animLvl val="lvl"/>
          <dgm:resizeHandles val="exact"/>
        </dgm:presLayoutVars>
      </dgm:prSet>
      <dgm:spPr/>
      <dgm:t>
        <a:bodyPr/>
        <a:lstStyle/>
        <a:p>
          <a:endParaRPr lang="tr-TR"/>
        </a:p>
      </dgm:t>
    </dgm:pt>
    <dgm:pt modelId="{EB4EDF33-9A46-4789-A1C3-48862DB7FD2F}" type="pres">
      <dgm:prSet presAssocID="{E2442608-20F6-4520-8F49-7992E2714D10}" presName="parentText" presStyleLbl="node1" presStyleIdx="0" presStyleCnt="4">
        <dgm:presLayoutVars>
          <dgm:chMax val="0"/>
          <dgm:bulletEnabled val="1"/>
        </dgm:presLayoutVars>
      </dgm:prSet>
      <dgm:spPr/>
      <dgm:t>
        <a:bodyPr/>
        <a:lstStyle/>
        <a:p>
          <a:endParaRPr lang="tr-TR"/>
        </a:p>
      </dgm:t>
    </dgm:pt>
    <dgm:pt modelId="{4CC91272-EE21-4245-9EB4-CD8741F5AA19}" type="pres">
      <dgm:prSet presAssocID="{E2442608-20F6-4520-8F49-7992E2714D10}" presName="childText" presStyleLbl="revTx" presStyleIdx="0" presStyleCnt="4">
        <dgm:presLayoutVars>
          <dgm:bulletEnabled val="1"/>
        </dgm:presLayoutVars>
      </dgm:prSet>
      <dgm:spPr/>
      <dgm:t>
        <a:bodyPr/>
        <a:lstStyle/>
        <a:p>
          <a:endParaRPr lang="tr-TR"/>
        </a:p>
      </dgm:t>
    </dgm:pt>
    <dgm:pt modelId="{BEA9028E-86BF-44BA-81DD-648E9596F9FB}" type="pres">
      <dgm:prSet presAssocID="{B6DF7990-62E2-42B1-B03E-BD2CA2CF638A}" presName="parentText" presStyleLbl="node1" presStyleIdx="1" presStyleCnt="4">
        <dgm:presLayoutVars>
          <dgm:chMax val="0"/>
          <dgm:bulletEnabled val="1"/>
        </dgm:presLayoutVars>
      </dgm:prSet>
      <dgm:spPr/>
      <dgm:t>
        <a:bodyPr/>
        <a:lstStyle/>
        <a:p>
          <a:endParaRPr lang="tr-TR"/>
        </a:p>
      </dgm:t>
    </dgm:pt>
    <dgm:pt modelId="{31CC99FA-D358-4F42-95E9-213F41420953}" type="pres">
      <dgm:prSet presAssocID="{B6DF7990-62E2-42B1-B03E-BD2CA2CF638A}" presName="childText" presStyleLbl="revTx" presStyleIdx="1" presStyleCnt="4">
        <dgm:presLayoutVars>
          <dgm:bulletEnabled val="1"/>
        </dgm:presLayoutVars>
      </dgm:prSet>
      <dgm:spPr/>
      <dgm:t>
        <a:bodyPr/>
        <a:lstStyle/>
        <a:p>
          <a:endParaRPr lang="tr-TR"/>
        </a:p>
      </dgm:t>
    </dgm:pt>
    <dgm:pt modelId="{1419EFB5-30D8-4E9C-B0F0-6461C961480B}" type="pres">
      <dgm:prSet presAssocID="{C44775B4-408A-43F0-87D8-E21B542D7E26}" presName="parentText" presStyleLbl="node1" presStyleIdx="2" presStyleCnt="4">
        <dgm:presLayoutVars>
          <dgm:chMax val="0"/>
          <dgm:bulletEnabled val="1"/>
        </dgm:presLayoutVars>
      </dgm:prSet>
      <dgm:spPr/>
      <dgm:t>
        <a:bodyPr/>
        <a:lstStyle/>
        <a:p>
          <a:endParaRPr lang="tr-TR"/>
        </a:p>
      </dgm:t>
    </dgm:pt>
    <dgm:pt modelId="{13257EB0-2CD6-42F8-B595-3C2DC3AE8CA3}" type="pres">
      <dgm:prSet presAssocID="{C44775B4-408A-43F0-87D8-E21B542D7E26}" presName="childText" presStyleLbl="revTx" presStyleIdx="2" presStyleCnt="4">
        <dgm:presLayoutVars>
          <dgm:bulletEnabled val="1"/>
        </dgm:presLayoutVars>
      </dgm:prSet>
      <dgm:spPr/>
      <dgm:t>
        <a:bodyPr/>
        <a:lstStyle/>
        <a:p>
          <a:endParaRPr lang="tr-TR"/>
        </a:p>
      </dgm:t>
    </dgm:pt>
    <dgm:pt modelId="{E7734B0B-1073-402B-9F0E-816205C32505}" type="pres">
      <dgm:prSet presAssocID="{F635026A-A6C0-4576-A36A-492E6B78321F}" presName="parentText" presStyleLbl="node1" presStyleIdx="3" presStyleCnt="4">
        <dgm:presLayoutVars>
          <dgm:chMax val="0"/>
          <dgm:bulletEnabled val="1"/>
        </dgm:presLayoutVars>
      </dgm:prSet>
      <dgm:spPr/>
      <dgm:t>
        <a:bodyPr/>
        <a:lstStyle/>
        <a:p>
          <a:endParaRPr lang="tr-TR"/>
        </a:p>
      </dgm:t>
    </dgm:pt>
    <dgm:pt modelId="{187B8856-6AA8-4B62-AC96-153095569F37}" type="pres">
      <dgm:prSet presAssocID="{F635026A-A6C0-4576-A36A-492E6B78321F}" presName="childText" presStyleLbl="revTx" presStyleIdx="3" presStyleCnt="4">
        <dgm:presLayoutVars>
          <dgm:bulletEnabled val="1"/>
        </dgm:presLayoutVars>
      </dgm:prSet>
      <dgm:spPr/>
      <dgm:t>
        <a:bodyPr/>
        <a:lstStyle/>
        <a:p>
          <a:endParaRPr lang="tr-TR"/>
        </a:p>
      </dgm:t>
    </dgm:pt>
  </dgm:ptLst>
  <dgm:cxnLst>
    <dgm:cxn modelId="{BDFEA6E2-A33B-4061-BE56-9E66353A318C}" type="presOf" srcId="{4ED185BE-70E2-484A-9493-40453EABB84A}" destId="{31CC99FA-D358-4F42-95E9-213F41420953}" srcOrd="0" destOrd="0" presId="urn:microsoft.com/office/officeart/2005/8/layout/vList2"/>
    <dgm:cxn modelId="{A4CDC26C-5A62-45F5-9168-330A018A778D}" srcId="{39022A4C-684A-4249-8DA9-75F8AD1AB50A}" destId="{C44775B4-408A-43F0-87D8-E21B542D7E26}" srcOrd="2" destOrd="0" parTransId="{93C8C8B0-0A10-4324-BD98-A0A05C68FB13}" sibTransId="{EC59E97E-25EE-477D-B8BD-73230A647D90}"/>
    <dgm:cxn modelId="{CBCDB507-1123-47C4-B542-2ABEB436CC63}" type="presOf" srcId="{E2442608-20F6-4520-8F49-7992E2714D10}" destId="{EB4EDF33-9A46-4789-A1C3-48862DB7FD2F}" srcOrd="0" destOrd="0" presId="urn:microsoft.com/office/officeart/2005/8/layout/vList2"/>
    <dgm:cxn modelId="{E8A593CD-738A-4B20-8CF9-03146E94F81F}" srcId="{C44775B4-408A-43F0-87D8-E21B542D7E26}" destId="{BD1B0124-E110-438C-A42F-27E1D2C805A7}" srcOrd="1" destOrd="0" parTransId="{9DD979D7-9F1A-445B-8A9A-7BE156CE6994}" sibTransId="{B9B65B8C-BD97-45D4-A642-7600B13D4FA9}"/>
    <dgm:cxn modelId="{079DDD5B-D134-4CCD-8995-85D23BF83B99}" srcId="{39022A4C-684A-4249-8DA9-75F8AD1AB50A}" destId="{F635026A-A6C0-4576-A36A-492E6B78321F}" srcOrd="3" destOrd="0" parTransId="{B22A5203-60D6-44B6-95CC-AC73479D8587}" sibTransId="{80F03C83-46A2-48A4-8C46-14ADA4898680}"/>
    <dgm:cxn modelId="{3FA711B2-2DDC-4A2D-885B-3F27BD3125E3}" type="presOf" srcId="{C44775B4-408A-43F0-87D8-E21B542D7E26}" destId="{1419EFB5-30D8-4E9C-B0F0-6461C961480B}" srcOrd="0" destOrd="0" presId="urn:microsoft.com/office/officeart/2005/8/layout/vList2"/>
    <dgm:cxn modelId="{64B295B3-EF32-45B9-92B2-E1334F98CC71}" type="presOf" srcId="{DDE0C85B-535A-488B-BFD0-FB50E609F25E}" destId="{13257EB0-2CD6-42F8-B595-3C2DC3AE8CA3}" srcOrd="0" destOrd="0" presId="urn:microsoft.com/office/officeart/2005/8/layout/vList2"/>
    <dgm:cxn modelId="{B6452844-FB13-4FA4-A5D6-2536BE3D1A0D}" srcId="{E2442608-20F6-4520-8F49-7992E2714D10}" destId="{982CC9C7-70CB-4FEF-B506-D35F2F480EB7}" srcOrd="0" destOrd="0" parTransId="{D5EC5570-8514-4FED-BC7B-F97FCF613EE9}" sibTransId="{E039BBF8-7436-4968-81D8-7F1409CC3775}"/>
    <dgm:cxn modelId="{FF864210-FDA9-4A0E-896D-FF50CE847F5B}" srcId="{B6DF7990-62E2-42B1-B03E-BD2CA2CF638A}" destId="{4ED185BE-70E2-484A-9493-40453EABB84A}" srcOrd="0" destOrd="0" parTransId="{683D87E5-E201-4C0B-A694-3482CF5B0D8C}" sibTransId="{FDD4D2C2-28CF-44C6-9803-29BF49B9C85F}"/>
    <dgm:cxn modelId="{22ED6337-1AF0-4078-8C7F-4F24BC13C883}" type="presOf" srcId="{BD1B0124-E110-438C-A42F-27E1D2C805A7}" destId="{13257EB0-2CD6-42F8-B595-3C2DC3AE8CA3}" srcOrd="0" destOrd="1" presId="urn:microsoft.com/office/officeart/2005/8/layout/vList2"/>
    <dgm:cxn modelId="{C7B7A633-3316-4A64-B51A-2009DD5DDCEC}" srcId="{39022A4C-684A-4249-8DA9-75F8AD1AB50A}" destId="{E2442608-20F6-4520-8F49-7992E2714D10}" srcOrd="0" destOrd="0" parTransId="{FD89D860-E7FF-45A0-8F5E-06B6B6C4DC62}" sibTransId="{ACA8628C-6663-46D4-B6AC-FDFB1D11FD78}"/>
    <dgm:cxn modelId="{369C24F4-D8A9-4EA1-BD5C-FE07A1C46ECD}" type="presOf" srcId="{F635026A-A6C0-4576-A36A-492E6B78321F}" destId="{E7734B0B-1073-402B-9F0E-816205C32505}" srcOrd="0" destOrd="0" presId="urn:microsoft.com/office/officeart/2005/8/layout/vList2"/>
    <dgm:cxn modelId="{FB7E301D-7D33-40C4-A93A-8DE29824876B}" type="presOf" srcId="{982CC9C7-70CB-4FEF-B506-D35F2F480EB7}" destId="{4CC91272-EE21-4245-9EB4-CD8741F5AA19}" srcOrd="0" destOrd="0" presId="urn:microsoft.com/office/officeart/2005/8/layout/vList2"/>
    <dgm:cxn modelId="{4234ED57-BD0D-40FD-B5D9-6275C9AD07B0}" srcId="{39022A4C-684A-4249-8DA9-75F8AD1AB50A}" destId="{B6DF7990-62E2-42B1-B03E-BD2CA2CF638A}" srcOrd="1" destOrd="0" parTransId="{1A09B9DD-E06E-4D63-B980-FE246BE2BFD3}" sibTransId="{3042E533-EC84-4934-9441-5942693190D6}"/>
    <dgm:cxn modelId="{62394779-BFBD-4394-9FE3-1A950F84CB35}" srcId="{F635026A-A6C0-4576-A36A-492E6B78321F}" destId="{F8D663F7-CBBD-4B96-B42F-720E4978048F}" srcOrd="0" destOrd="0" parTransId="{87847DE7-9015-4DAD-91CA-41D3A1E12541}" sibTransId="{D4617F99-93B0-4158-A9E6-87D988C1E43C}"/>
    <dgm:cxn modelId="{BE5757FD-A467-4FE2-8BBC-4151CFB10EAE}" type="presOf" srcId="{39022A4C-684A-4249-8DA9-75F8AD1AB50A}" destId="{D4AFB4CF-EF44-41AF-AF07-4435C0B8D77F}" srcOrd="0" destOrd="0" presId="urn:microsoft.com/office/officeart/2005/8/layout/vList2"/>
    <dgm:cxn modelId="{E2040FAF-ECA4-47D8-BC84-D81C29170511}" type="presOf" srcId="{B6DF7990-62E2-42B1-B03E-BD2CA2CF638A}" destId="{BEA9028E-86BF-44BA-81DD-648E9596F9FB}" srcOrd="0" destOrd="0" presId="urn:microsoft.com/office/officeart/2005/8/layout/vList2"/>
    <dgm:cxn modelId="{30B7D4EB-6848-4F48-B26D-A6F1352C59BD}" type="presOf" srcId="{F8D663F7-CBBD-4B96-B42F-720E4978048F}" destId="{187B8856-6AA8-4B62-AC96-153095569F37}" srcOrd="0" destOrd="0" presId="urn:microsoft.com/office/officeart/2005/8/layout/vList2"/>
    <dgm:cxn modelId="{1CE3E23A-4FB5-432D-BFF6-720BA9EE0868}" srcId="{C44775B4-408A-43F0-87D8-E21B542D7E26}" destId="{DDE0C85B-535A-488B-BFD0-FB50E609F25E}" srcOrd="0" destOrd="0" parTransId="{90D2E2F7-34D8-4C5B-9682-DC09049375F3}" sibTransId="{0EE8D4F3-3F07-40A9-9864-9E9BDD4A5623}"/>
    <dgm:cxn modelId="{A81C12BA-CFA9-4462-A638-F0CE0F11555B}" type="presParOf" srcId="{D4AFB4CF-EF44-41AF-AF07-4435C0B8D77F}" destId="{EB4EDF33-9A46-4789-A1C3-48862DB7FD2F}" srcOrd="0" destOrd="0" presId="urn:microsoft.com/office/officeart/2005/8/layout/vList2"/>
    <dgm:cxn modelId="{F660226D-F60B-47FB-85F5-D0DFD9545BDE}" type="presParOf" srcId="{D4AFB4CF-EF44-41AF-AF07-4435C0B8D77F}" destId="{4CC91272-EE21-4245-9EB4-CD8741F5AA19}" srcOrd="1" destOrd="0" presId="urn:microsoft.com/office/officeart/2005/8/layout/vList2"/>
    <dgm:cxn modelId="{B58862E4-C946-44C0-B25B-2AEB0ADD5EC9}" type="presParOf" srcId="{D4AFB4CF-EF44-41AF-AF07-4435C0B8D77F}" destId="{BEA9028E-86BF-44BA-81DD-648E9596F9FB}" srcOrd="2" destOrd="0" presId="urn:microsoft.com/office/officeart/2005/8/layout/vList2"/>
    <dgm:cxn modelId="{3C81ACB7-E378-4797-A7EC-6801F9073064}" type="presParOf" srcId="{D4AFB4CF-EF44-41AF-AF07-4435C0B8D77F}" destId="{31CC99FA-D358-4F42-95E9-213F41420953}" srcOrd="3" destOrd="0" presId="urn:microsoft.com/office/officeart/2005/8/layout/vList2"/>
    <dgm:cxn modelId="{1553A2FA-AFDE-47AE-914C-BAF5B4BBA165}" type="presParOf" srcId="{D4AFB4CF-EF44-41AF-AF07-4435C0B8D77F}" destId="{1419EFB5-30D8-4E9C-B0F0-6461C961480B}" srcOrd="4" destOrd="0" presId="urn:microsoft.com/office/officeart/2005/8/layout/vList2"/>
    <dgm:cxn modelId="{031A1C97-A993-4C8E-BA09-8AC9A8083A31}" type="presParOf" srcId="{D4AFB4CF-EF44-41AF-AF07-4435C0B8D77F}" destId="{13257EB0-2CD6-42F8-B595-3C2DC3AE8CA3}" srcOrd="5" destOrd="0" presId="urn:microsoft.com/office/officeart/2005/8/layout/vList2"/>
    <dgm:cxn modelId="{E6224FFE-D68A-4E86-B430-17ACA30449E1}" type="presParOf" srcId="{D4AFB4CF-EF44-41AF-AF07-4435C0B8D77F}" destId="{E7734B0B-1073-402B-9F0E-816205C32505}" srcOrd="6" destOrd="0" presId="urn:microsoft.com/office/officeart/2005/8/layout/vList2"/>
    <dgm:cxn modelId="{A66997B1-361D-47AC-8E11-2D3EB3CE876F}" type="presParOf" srcId="{D4AFB4CF-EF44-41AF-AF07-4435C0B8D77F}" destId="{187B8856-6AA8-4B62-AC96-153095569F37}"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B625326-3C09-4157-ADB7-A69393435FE8}" type="doc">
      <dgm:prSet loTypeId="urn:microsoft.com/office/officeart/2005/8/layout/process3" loCatId="process" qsTypeId="urn:microsoft.com/office/officeart/2005/8/quickstyle/simple4" qsCatId="simple" csTypeId="urn:microsoft.com/office/officeart/2005/8/colors/accent0_1" csCatId="mainScheme" phldr="1"/>
      <dgm:spPr/>
      <dgm:t>
        <a:bodyPr/>
        <a:lstStyle/>
        <a:p>
          <a:endParaRPr lang="tr-TR"/>
        </a:p>
      </dgm:t>
    </dgm:pt>
    <dgm:pt modelId="{C2934FC5-3B90-4229-9057-652EB8B19B8F}">
      <dgm:prSet phldrT="[Metin]" custT="1"/>
      <dgm:spPr>
        <a:solidFill>
          <a:schemeClr val="accent6">
            <a:lumMod val="20000"/>
            <a:lumOff val="80000"/>
          </a:schemeClr>
        </a:solidFill>
      </dgm:spPr>
      <dgm:t>
        <a:bodyPr/>
        <a:lstStyle/>
        <a:p>
          <a:r>
            <a:rPr lang="en-US" sz="1200" b="1" dirty="0" smtClean="0">
              <a:latin typeface="Calibri" panose="020F0502020204030204" pitchFamily="34" charset="0"/>
              <a:cs typeface="Calibri" panose="020F0502020204030204" pitchFamily="34" charset="0"/>
            </a:rPr>
            <a:t>Feasibility Assessment (</a:t>
          </a:r>
          <a:r>
            <a:rPr lang="tr-TR" sz="1200" b="1" dirty="0" smtClean="0">
              <a:latin typeface="Calibri" panose="020F0502020204030204" pitchFamily="34" charset="0"/>
              <a:cs typeface="Calibri" panose="020F0502020204030204" pitchFamily="34" charset="0"/>
            </a:rPr>
            <a:t>2024 - </a:t>
          </a:r>
          <a:r>
            <a:rPr lang="en-US" sz="1200" b="1" dirty="0" smtClean="0">
              <a:latin typeface="Calibri" panose="020F0502020204030204" pitchFamily="34" charset="0"/>
              <a:cs typeface="Calibri" panose="020F0502020204030204" pitchFamily="34" charset="0"/>
            </a:rPr>
            <a:t>2025)</a:t>
          </a:r>
          <a:r>
            <a:rPr lang="tr-TR" sz="1200" b="1" dirty="0" smtClean="0">
              <a:latin typeface="Calibri" panose="020F0502020204030204" pitchFamily="34" charset="0"/>
              <a:cs typeface="Calibri" panose="020F0502020204030204" pitchFamily="34" charset="0"/>
            </a:rPr>
            <a:t> </a:t>
          </a:r>
          <a:endParaRPr lang="tr-TR" sz="1200" b="1" dirty="0">
            <a:latin typeface="Calibri" panose="020F0502020204030204" pitchFamily="34" charset="0"/>
            <a:cs typeface="Calibri" panose="020F0502020204030204" pitchFamily="34" charset="0"/>
          </a:endParaRPr>
        </a:p>
      </dgm:t>
    </dgm:pt>
    <dgm:pt modelId="{B77F0BEA-328C-4D0E-A3BD-48961F87E3D2}" type="parTrans" cxnId="{6F888D82-CBBB-417E-94D1-E196FC257D74}">
      <dgm:prSet/>
      <dgm:spPr/>
      <dgm:t>
        <a:bodyPr/>
        <a:lstStyle/>
        <a:p>
          <a:endParaRPr lang="tr-TR"/>
        </a:p>
      </dgm:t>
    </dgm:pt>
    <dgm:pt modelId="{8B29CA5A-905B-44A9-A26C-3DCB2E79E636}" type="sibTrans" cxnId="{6F888D82-CBBB-417E-94D1-E196FC257D74}">
      <dgm:prSet/>
      <dgm:spPr>
        <a:solidFill>
          <a:schemeClr val="accent6">
            <a:lumMod val="20000"/>
            <a:lumOff val="80000"/>
          </a:schemeClr>
        </a:solidFill>
      </dgm:spPr>
      <dgm:t>
        <a:bodyPr/>
        <a:lstStyle/>
        <a:p>
          <a:endParaRPr lang="tr-TR"/>
        </a:p>
      </dgm:t>
    </dgm:pt>
    <dgm:pt modelId="{3C4A4338-488B-4B8B-A0CF-2C357C5EBE05}">
      <dgm:prSet phldrT="[Metin]" custT="1"/>
      <dgm:spPr>
        <a:ln>
          <a:noFill/>
        </a:ln>
      </dgm:spPr>
      <dgm:t>
        <a:bodyPr/>
        <a:lstStyle/>
        <a:p>
          <a:r>
            <a:rPr lang="en-US" sz="1400" b="1" dirty="0" smtClean="0">
              <a:latin typeface="Calibri" panose="020F0502020204030204" pitchFamily="34" charset="0"/>
              <a:cs typeface="Calibri" panose="020F0502020204030204" pitchFamily="34" charset="0"/>
            </a:rPr>
            <a:t>Institutional context </a:t>
          </a:r>
          <a:r>
            <a:rPr lang="en-US" sz="1400" b="0" dirty="0" smtClean="0">
              <a:latin typeface="Calibri" panose="020F0502020204030204" pitchFamily="34" charset="0"/>
              <a:cs typeface="Calibri" panose="020F0502020204030204" pitchFamily="34" charset="0"/>
            </a:rPr>
            <a:t>→ The Directorate of Climate Change, as </a:t>
          </a:r>
          <a:r>
            <a:rPr lang="en-US" sz="1400" b="0" dirty="0" err="1" smtClean="0">
              <a:latin typeface="Calibri" panose="020F0502020204030204" pitchFamily="34" charset="0"/>
              <a:cs typeface="Calibri" panose="020F0502020204030204" pitchFamily="34" charset="0"/>
            </a:rPr>
            <a:t>Türkiye’s</a:t>
          </a:r>
          <a:r>
            <a:rPr lang="en-US" sz="1400" b="0" dirty="0" smtClean="0">
              <a:latin typeface="Calibri" panose="020F0502020204030204" pitchFamily="34" charset="0"/>
              <a:cs typeface="Calibri" panose="020F0502020204030204" pitchFamily="34" charset="0"/>
            </a:rPr>
            <a:t> UNFCCC National Focal Point and coordinating authority,</a:t>
          </a:r>
          <a:r>
            <a:rPr lang="en-US" sz="1400" dirty="0" smtClean="0">
              <a:latin typeface="Calibri" panose="020F0502020204030204" pitchFamily="34" charset="0"/>
              <a:cs typeface="Calibri" panose="020F0502020204030204" pitchFamily="34" charset="0"/>
            </a:rPr>
            <a:t> provides overall strategic guidance. While agriculture and LULUCF are under the mandate of other institutions, the Directorate identified the need to build its </a:t>
          </a:r>
          <a:r>
            <a:rPr lang="en-US" sz="1400" b="1" dirty="0" smtClean="0">
              <a:latin typeface="Calibri" panose="020F0502020204030204" pitchFamily="34" charset="0"/>
              <a:cs typeface="Calibri" panose="020F0502020204030204" pitchFamily="34" charset="0"/>
            </a:rPr>
            <a:t>technical expertise in the AFOLU sector</a:t>
          </a:r>
          <a:r>
            <a:rPr lang="en-US" sz="1400" dirty="0" smtClean="0">
              <a:latin typeface="Calibri" panose="020F0502020204030204" pitchFamily="34" charset="0"/>
              <a:cs typeface="Calibri" panose="020F0502020204030204" pitchFamily="34" charset="0"/>
            </a:rPr>
            <a:t>.</a:t>
          </a:r>
          <a:endParaRPr lang="tr-TR" sz="1400" b="0" dirty="0">
            <a:latin typeface="Calibri" panose="020F0502020204030204" pitchFamily="34" charset="0"/>
            <a:cs typeface="Calibri" panose="020F0502020204030204" pitchFamily="34" charset="0"/>
          </a:endParaRPr>
        </a:p>
      </dgm:t>
    </dgm:pt>
    <dgm:pt modelId="{FA3620CF-8FC7-47A3-B7D8-D89845C1B704}" type="parTrans" cxnId="{E0BC614B-91B1-4B0E-8038-31607A2FF4DB}">
      <dgm:prSet/>
      <dgm:spPr/>
      <dgm:t>
        <a:bodyPr/>
        <a:lstStyle/>
        <a:p>
          <a:endParaRPr lang="tr-TR"/>
        </a:p>
      </dgm:t>
    </dgm:pt>
    <dgm:pt modelId="{C861791E-D1DB-426C-AE6B-2C73248DEBD9}" type="sibTrans" cxnId="{E0BC614B-91B1-4B0E-8038-31607A2FF4DB}">
      <dgm:prSet/>
      <dgm:spPr/>
      <dgm:t>
        <a:bodyPr/>
        <a:lstStyle/>
        <a:p>
          <a:endParaRPr lang="tr-TR"/>
        </a:p>
      </dgm:t>
    </dgm:pt>
    <dgm:pt modelId="{1AAB9E9E-2BD2-490F-88A5-CAB20F7CCC42}">
      <dgm:prSet phldrT="[Metin]" custT="1"/>
      <dgm:spPr>
        <a:solidFill>
          <a:schemeClr val="accent6">
            <a:lumMod val="20000"/>
            <a:lumOff val="80000"/>
          </a:schemeClr>
        </a:solidFill>
      </dgm:spPr>
      <dgm:t>
        <a:bodyPr/>
        <a:lstStyle/>
        <a:p>
          <a:r>
            <a:rPr lang="en-US" sz="1200" b="1" dirty="0" smtClean="0">
              <a:latin typeface="Calibri" panose="020F0502020204030204" pitchFamily="34" charset="0"/>
              <a:cs typeface="Calibri" panose="020F0502020204030204" pitchFamily="34" charset="0"/>
            </a:rPr>
            <a:t>Project Design (2024–2025)</a:t>
          </a:r>
          <a:endParaRPr lang="tr-TR" sz="1200" b="1" dirty="0">
            <a:latin typeface="Calibri" panose="020F0502020204030204" pitchFamily="34" charset="0"/>
            <a:cs typeface="Calibri" panose="020F0502020204030204" pitchFamily="34" charset="0"/>
          </a:endParaRPr>
        </a:p>
      </dgm:t>
    </dgm:pt>
    <dgm:pt modelId="{55257E5A-7633-41F5-8BCD-E6EE0D47EF8F}" type="parTrans" cxnId="{EA6F7B27-C132-4738-9E79-25C788CB6872}">
      <dgm:prSet/>
      <dgm:spPr/>
      <dgm:t>
        <a:bodyPr/>
        <a:lstStyle/>
        <a:p>
          <a:endParaRPr lang="tr-TR"/>
        </a:p>
      </dgm:t>
    </dgm:pt>
    <dgm:pt modelId="{D67129B7-10B7-4A92-BA1C-CDACECB8B21F}" type="sibTrans" cxnId="{EA6F7B27-C132-4738-9E79-25C788CB6872}">
      <dgm:prSet/>
      <dgm:spPr/>
      <dgm:t>
        <a:bodyPr/>
        <a:lstStyle/>
        <a:p>
          <a:endParaRPr lang="tr-TR"/>
        </a:p>
      </dgm:t>
    </dgm:pt>
    <dgm:pt modelId="{A9ADBC5C-DBC2-4209-AC1B-A8A7344C8BE2}">
      <dgm:prSet phldrT="[Metin]" custT="1"/>
      <dgm:spPr>
        <a:ln>
          <a:noFill/>
        </a:ln>
      </dgm:spPr>
      <dgm:t>
        <a:bodyPr/>
        <a:lstStyle/>
        <a:p>
          <a:r>
            <a:rPr lang="en-US" sz="1300" b="1" dirty="0" smtClean="0">
              <a:latin typeface="Calibri" panose="020F0502020204030204" pitchFamily="34" charset="0"/>
              <a:cs typeface="Calibri" panose="020F0502020204030204" pitchFamily="34" charset="0"/>
            </a:rPr>
            <a:t>Conceptual foundation</a:t>
          </a:r>
          <a:r>
            <a:rPr lang="en-US" sz="1300" dirty="0" smtClean="0">
              <a:latin typeface="Calibri" panose="020F0502020204030204" pitchFamily="34" charset="0"/>
              <a:cs typeface="Calibri" panose="020F0502020204030204" pitchFamily="34" charset="0"/>
            </a:rPr>
            <a:t> → The project was designed after the </a:t>
          </a:r>
          <a:r>
            <a:rPr lang="en-US" sz="1300" b="1" dirty="0" smtClean="0">
              <a:latin typeface="Calibri" panose="020F0502020204030204" pitchFamily="34" charset="0"/>
              <a:cs typeface="Calibri" panose="020F0502020204030204" pitchFamily="34" charset="0"/>
            </a:rPr>
            <a:t>1st NDC</a:t>
          </a:r>
          <a:r>
            <a:rPr lang="en-US" sz="1300" dirty="0" smtClean="0">
              <a:latin typeface="Calibri" panose="020F0502020204030204" pitchFamily="34" charset="0"/>
              <a:cs typeface="Calibri" panose="020F0502020204030204" pitchFamily="34" charset="0"/>
            </a:rPr>
            <a:t>, the </a:t>
          </a:r>
          <a:r>
            <a:rPr lang="en-US" sz="1300" b="1" dirty="0" smtClean="0">
              <a:latin typeface="Calibri" panose="020F0502020204030204" pitchFamily="34" charset="0"/>
              <a:cs typeface="Calibri" panose="020F0502020204030204" pitchFamily="34" charset="0"/>
            </a:rPr>
            <a:t>LTS</a:t>
          </a:r>
          <a:r>
            <a:rPr lang="en-US" sz="1300" dirty="0" smtClean="0">
              <a:latin typeface="Calibri" panose="020F0502020204030204" pitchFamily="34" charset="0"/>
              <a:cs typeface="Calibri" panose="020F0502020204030204" pitchFamily="34" charset="0"/>
            </a:rPr>
            <a:t> and </a:t>
          </a:r>
          <a:r>
            <a:rPr lang="en-US" sz="1300" b="1" dirty="0" smtClean="0">
              <a:latin typeface="Calibri" panose="020F0502020204030204" pitchFamily="34" charset="0"/>
              <a:cs typeface="Calibri" panose="020F0502020204030204" pitchFamily="34" charset="0"/>
            </a:rPr>
            <a:t>Mitigation Action Plan</a:t>
          </a:r>
          <a:r>
            <a:rPr lang="en-US" sz="1300" dirty="0" smtClean="0">
              <a:latin typeface="Calibri" panose="020F0502020204030204" pitchFamily="34" charset="0"/>
              <a:cs typeface="Calibri" panose="020F0502020204030204" pitchFamily="34" charset="0"/>
            </a:rPr>
            <a:t>, and within the framework of the </a:t>
          </a:r>
          <a:r>
            <a:rPr lang="en-US" sz="1300" b="1" dirty="0" smtClean="0">
              <a:latin typeface="Calibri" panose="020F0502020204030204" pitchFamily="34" charset="0"/>
              <a:cs typeface="Calibri" panose="020F0502020204030204" pitchFamily="34" charset="0"/>
            </a:rPr>
            <a:t>2nd NDC</a:t>
          </a:r>
          <a:r>
            <a:rPr lang="tr-TR" sz="1300" b="1" dirty="0" smtClean="0">
              <a:latin typeface="Calibri" panose="020F0502020204030204" pitchFamily="34" charset="0"/>
              <a:cs typeface="Calibri" panose="020F0502020204030204" pitchFamily="34" charset="0"/>
            </a:rPr>
            <a:t> </a:t>
          </a:r>
          <a:r>
            <a:rPr lang="en-US" sz="1300" b="1" dirty="0" smtClean="0">
              <a:latin typeface="Calibri" panose="020F0502020204030204" pitchFamily="34" charset="0"/>
              <a:cs typeface="Calibri" panose="020F0502020204030204" pitchFamily="34" charset="0"/>
            </a:rPr>
            <a:t>preparation (2025)</a:t>
          </a:r>
          <a:r>
            <a:rPr lang="en-US" sz="1300" dirty="0" smtClean="0">
              <a:latin typeface="Calibri" panose="020F0502020204030204" pitchFamily="34" charset="0"/>
              <a:cs typeface="Calibri" panose="020F0502020204030204" pitchFamily="34" charset="0"/>
            </a:rPr>
            <a:t>. It directly responds to the call for more ambitious action by developing </a:t>
          </a:r>
          <a:r>
            <a:rPr lang="en-US" sz="1300" b="1" dirty="0" smtClean="0">
              <a:latin typeface="Calibri" panose="020F0502020204030204" pitchFamily="34" charset="0"/>
              <a:cs typeface="Calibri" panose="020F0502020204030204" pitchFamily="34" charset="0"/>
            </a:rPr>
            <a:t>stronger policy frameworks</a:t>
          </a:r>
          <a:r>
            <a:rPr lang="en-US" sz="1300" dirty="0" smtClean="0">
              <a:latin typeface="Calibri" panose="020F0502020204030204" pitchFamily="34" charset="0"/>
              <a:cs typeface="Calibri" panose="020F0502020204030204" pitchFamily="34" charset="0"/>
            </a:rPr>
            <a:t> and by fully assessing the </a:t>
          </a:r>
          <a:r>
            <a:rPr lang="en-US" sz="1300" b="1" dirty="0" smtClean="0">
              <a:latin typeface="Calibri" panose="020F0502020204030204" pitchFamily="34" charset="0"/>
              <a:cs typeface="Calibri" panose="020F0502020204030204" pitchFamily="34" charset="0"/>
            </a:rPr>
            <a:t>carbon sink capacity and mitigation potential</a:t>
          </a:r>
          <a:r>
            <a:rPr lang="en-US" sz="1300" dirty="0" smtClean="0">
              <a:latin typeface="Calibri" panose="020F0502020204030204" pitchFamily="34" charset="0"/>
              <a:cs typeface="Calibri" panose="020F0502020204030204" pitchFamily="34" charset="0"/>
            </a:rPr>
            <a:t> of agriculture and forestry.</a:t>
          </a:r>
          <a:endParaRPr lang="tr-TR" sz="1300" dirty="0">
            <a:latin typeface="Calibri" panose="020F0502020204030204" pitchFamily="34" charset="0"/>
            <a:cs typeface="Calibri" panose="020F0502020204030204" pitchFamily="34" charset="0"/>
          </a:endParaRPr>
        </a:p>
      </dgm:t>
    </dgm:pt>
    <dgm:pt modelId="{E8154684-64C4-4CDA-B158-4EAA3626272A}" type="parTrans" cxnId="{541C55C6-E92C-4820-A96B-B8BDDC7879E2}">
      <dgm:prSet/>
      <dgm:spPr/>
      <dgm:t>
        <a:bodyPr/>
        <a:lstStyle/>
        <a:p>
          <a:endParaRPr lang="tr-TR"/>
        </a:p>
      </dgm:t>
    </dgm:pt>
    <dgm:pt modelId="{65B966B4-BE0A-489C-8A2B-96FCF82284D7}" type="sibTrans" cxnId="{541C55C6-E92C-4820-A96B-B8BDDC7879E2}">
      <dgm:prSet/>
      <dgm:spPr/>
      <dgm:t>
        <a:bodyPr/>
        <a:lstStyle/>
        <a:p>
          <a:endParaRPr lang="tr-TR"/>
        </a:p>
      </dgm:t>
    </dgm:pt>
    <dgm:pt modelId="{395DA1D4-E110-493E-9CBB-328441258755}">
      <dgm:prSet custT="1"/>
      <dgm:spPr/>
      <dgm:t>
        <a:bodyPr/>
        <a:lstStyle/>
        <a:p>
          <a:r>
            <a:rPr lang="en-US" sz="1400" b="1" dirty="0" smtClean="0">
              <a:latin typeface="Calibri" panose="020F0502020204030204" pitchFamily="34" charset="0"/>
              <a:cs typeface="Calibri" panose="020F0502020204030204" pitchFamily="34" charset="0"/>
            </a:rPr>
            <a:t>Capacity needs</a:t>
          </a:r>
          <a:r>
            <a:rPr lang="en-US" sz="1400" dirty="0" smtClean="0">
              <a:latin typeface="Calibri" panose="020F0502020204030204" pitchFamily="34" charset="0"/>
              <a:cs typeface="Calibri" panose="020F0502020204030204" pitchFamily="34" charset="0"/>
            </a:rPr>
            <a:t> → The importance of AFOLU in national highlighted the necessity for the Directorate to strengthen</a:t>
          </a:r>
          <a:r>
            <a:rPr lang="tr-TR" sz="1400" dirty="0" smtClean="0">
              <a:latin typeface="Calibri" panose="020F0502020204030204" pitchFamily="34" charset="0"/>
              <a:cs typeface="Calibri" panose="020F0502020204030204" pitchFamily="34" charset="0"/>
            </a:rPr>
            <a:t> </a:t>
          </a:r>
          <a:r>
            <a:rPr lang="en-US" sz="1400" b="0" dirty="0" smtClean="0">
              <a:latin typeface="Calibri" panose="020F0502020204030204" pitchFamily="34" charset="0"/>
              <a:cs typeface="Calibri" panose="020F0502020204030204" pitchFamily="34" charset="0"/>
            </a:rPr>
            <a:t>mitigation commitments </a:t>
          </a:r>
          <a:r>
            <a:rPr lang="en-US" sz="1400" dirty="0" smtClean="0">
              <a:latin typeface="Calibri" panose="020F0502020204030204" pitchFamily="34" charset="0"/>
              <a:cs typeface="Calibri" panose="020F0502020204030204" pitchFamily="34" charset="0"/>
            </a:rPr>
            <a:t> its role in policy formulation and strategy development.</a:t>
          </a:r>
          <a:endParaRPr lang="en-US" sz="1400" dirty="0">
            <a:latin typeface="Calibri" panose="020F0502020204030204" pitchFamily="34" charset="0"/>
            <a:cs typeface="Calibri" panose="020F0502020204030204" pitchFamily="34" charset="0"/>
          </a:endParaRPr>
        </a:p>
      </dgm:t>
    </dgm:pt>
    <dgm:pt modelId="{1B3C7AE0-B26C-4338-969B-5803B3F5A9A9}" type="parTrans" cxnId="{5DBDC18E-9EE4-4D3A-87D0-A9D0A1B11DD0}">
      <dgm:prSet/>
      <dgm:spPr/>
      <dgm:t>
        <a:bodyPr/>
        <a:lstStyle/>
        <a:p>
          <a:endParaRPr lang="tr-TR"/>
        </a:p>
      </dgm:t>
    </dgm:pt>
    <dgm:pt modelId="{7487EB91-6901-40BC-9376-FBA0151B9EA7}" type="sibTrans" cxnId="{5DBDC18E-9EE4-4D3A-87D0-A9D0A1B11DD0}">
      <dgm:prSet/>
      <dgm:spPr/>
      <dgm:t>
        <a:bodyPr/>
        <a:lstStyle/>
        <a:p>
          <a:endParaRPr lang="tr-TR"/>
        </a:p>
      </dgm:t>
    </dgm:pt>
    <dgm:pt modelId="{9B036EEF-DB12-4872-AE53-3F0704754B68}">
      <dgm:prSet custT="1"/>
      <dgm:spPr/>
      <dgm:t>
        <a:bodyPr/>
        <a:lstStyle/>
        <a:p>
          <a:r>
            <a:rPr lang="en-US" sz="1400" b="1" dirty="0" smtClean="0">
              <a:latin typeface="Calibri" panose="020F0502020204030204" pitchFamily="34" charset="0"/>
              <a:cs typeface="Calibri" panose="020F0502020204030204" pitchFamily="34" charset="0"/>
            </a:rPr>
            <a:t>Policy relevance</a:t>
          </a:r>
          <a:r>
            <a:rPr lang="en-US" sz="1400" dirty="0" smtClean="0">
              <a:latin typeface="Calibri" panose="020F0502020204030204" pitchFamily="34" charset="0"/>
              <a:cs typeface="Calibri" panose="020F0502020204030204" pitchFamily="34" charset="0"/>
            </a:rPr>
            <a:t> → Given </a:t>
          </a:r>
          <a:r>
            <a:rPr lang="en-US" sz="1400" b="1" dirty="0" err="1" smtClean="0">
              <a:latin typeface="Calibri" panose="020F0502020204030204" pitchFamily="34" charset="0"/>
              <a:cs typeface="Calibri" panose="020F0502020204030204" pitchFamily="34" charset="0"/>
            </a:rPr>
            <a:t>Türkiye’s</a:t>
          </a:r>
          <a:r>
            <a:rPr lang="en-US" sz="1400" b="1" dirty="0" smtClean="0">
              <a:latin typeface="Calibri" panose="020F0502020204030204" pitchFamily="34" charset="0"/>
              <a:cs typeface="Calibri" panose="020F0502020204030204" pitchFamily="34" charset="0"/>
            </a:rPr>
            <a:t> high vulnerability to climate change</a:t>
          </a:r>
          <a:r>
            <a:rPr lang="en-US" sz="1400" dirty="0" smtClean="0">
              <a:latin typeface="Calibri" panose="020F0502020204030204" pitchFamily="34" charset="0"/>
              <a:cs typeface="Calibri" panose="020F0502020204030204" pitchFamily="34" charset="0"/>
            </a:rPr>
            <a:t>, the feasibility phase confirmed the need for </a:t>
          </a:r>
          <a:r>
            <a:rPr lang="en-US" sz="1400" b="0" dirty="0" smtClean="0">
              <a:latin typeface="Calibri" panose="020F0502020204030204" pitchFamily="34" charset="0"/>
              <a:cs typeface="Calibri" panose="020F0502020204030204" pitchFamily="34" charset="0"/>
            </a:rPr>
            <a:t>robust and coherent AFOLU policies </a:t>
          </a:r>
          <a:r>
            <a:rPr lang="en-US" sz="1400" dirty="0" smtClean="0">
              <a:latin typeface="Calibri" panose="020F0502020204030204" pitchFamily="34" charset="0"/>
              <a:cs typeface="Calibri" panose="020F0502020204030204" pitchFamily="34" charset="0"/>
            </a:rPr>
            <a:t>as a cornerstone of national climate action.</a:t>
          </a:r>
          <a:endParaRPr lang="en-US" sz="1400" dirty="0">
            <a:latin typeface="Calibri" panose="020F0502020204030204" pitchFamily="34" charset="0"/>
            <a:cs typeface="Calibri" panose="020F0502020204030204" pitchFamily="34" charset="0"/>
          </a:endParaRPr>
        </a:p>
      </dgm:t>
    </dgm:pt>
    <dgm:pt modelId="{1CBF1928-9849-41E9-8E9C-351B7861DF33}" type="parTrans" cxnId="{E5E72600-C414-448E-B251-980AAB020948}">
      <dgm:prSet/>
      <dgm:spPr/>
      <dgm:t>
        <a:bodyPr/>
        <a:lstStyle/>
        <a:p>
          <a:endParaRPr lang="tr-TR"/>
        </a:p>
      </dgm:t>
    </dgm:pt>
    <dgm:pt modelId="{12AB1898-26D9-418F-8830-A54EC5E0570C}" type="sibTrans" cxnId="{E5E72600-C414-448E-B251-980AAB020948}">
      <dgm:prSet/>
      <dgm:spPr/>
      <dgm:t>
        <a:bodyPr/>
        <a:lstStyle/>
        <a:p>
          <a:endParaRPr lang="tr-TR"/>
        </a:p>
      </dgm:t>
    </dgm:pt>
    <dgm:pt modelId="{EDF2F5F3-15D2-41A4-BE91-ED8CD447C378}">
      <dgm:prSet custT="1"/>
      <dgm:spPr/>
      <dgm:t>
        <a:bodyPr/>
        <a:lstStyle/>
        <a:p>
          <a:r>
            <a:rPr lang="en-US" sz="1300" b="1" dirty="0" smtClean="0">
              <a:latin typeface="Calibri" panose="020F0502020204030204" pitchFamily="34" charset="0"/>
              <a:cs typeface="Calibri" panose="020F0502020204030204" pitchFamily="34" charset="0"/>
            </a:rPr>
            <a:t>Integration of findings</a:t>
          </a:r>
          <a:r>
            <a:rPr lang="en-US" sz="1300" dirty="0" smtClean="0">
              <a:latin typeface="Calibri" panose="020F0502020204030204" pitchFamily="34" charset="0"/>
              <a:cs typeface="Calibri" panose="020F0502020204030204" pitchFamily="34" charset="0"/>
            </a:rPr>
            <a:t> → The design incorporated the results of the feasibility stage, addressing </a:t>
          </a:r>
          <a:r>
            <a:rPr lang="en-US" sz="1300" b="1" dirty="0" smtClean="0">
              <a:latin typeface="Calibri" panose="020F0502020204030204" pitchFamily="34" charset="0"/>
              <a:cs typeface="Calibri" panose="020F0502020204030204" pitchFamily="34" charset="0"/>
            </a:rPr>
            <a:t>institutional and technical capacity gaps</a:t>
          </a:r>
          <a:r>
            <a:rPr lang="en-US" sz="1300" dirty="0" smtClean="0">
              <a:latin typeface="Calibri" panose="020F0502020204030204" pitchFamily="34" charset="0"/>
              <a:cs typeface="Calibri" panose="020F0502020204030204" pitchFamily="34" charset="0"/>
            </a:rPr>
            <a:t> in the AFOLU sector.</a:t>
          </a:r>
          <a:endParaRPr lang="en-US" sz="1300" dirty="0">
            <a:latin typeface="Calibri" panose="020F0502020204030204" pitchFamily="34" charset="0"/>
            <a:cs typeface="Calibri" panose="020F0502020204030204" pitchFamily="34" charset="0"/>
          </a:endParaRPr>
        </a:p>
      </dgm:t>
    </dgm:pt>
    <dgm:pt modelId="{9B880E34-E82F-4F30-BB3E-A21FA35B46CB}" type="parTrans" cxnId="{D03FDA4A-C4F1-4366-9ECA-E21494411054}">
      <dgm:prSet/>
      <dgm:spPr/>
      <dgm:t>
        <a:bodyPr/>
        <a:lstStyle/>
        <a:p>
          <a:endParaRPr lang="tr-TR"/>
        </a:p>
      </dgm:t>
    </dgm:pt>
    <dgm:pt modelId="{403FA853-E5A6-45DE-AFD3-0A81A3D97125}" type="sibTrans" cxnId="{D03FDA4A-C4F1-4366-9ECA-E21494411054}">
      <dgm:prSet/>
      <dgm:spPr/>
      <dgm:t>
        <a:bodyPr/>
        <a:lstStyle/>
        <a:p>
          <a:endParaRPr lang="tr-TR"/>
        </a:p>
      </dgm:t>
    </dgm:pt>
    <dgm:pt modelId="{4E943BAF-5CB1-4D35-96B2-93FBDD1B4F14}">
      <dgm:prSet custT="1"/>
      <dgm:spPr/>
      <dgm:t>
        <a:bodyPr/>
        <a:lstStyle/>
        <a:p>
          <a:r>
            <a:rPr lang="en-US" sz="1300" b="1" dirty="0" smtClean="0">
              <a:latin typeface="Calibri" panose="020F0502020204030204" pitchFamily="34" charset="0"/>
              <a:cs typeface="Calibri" panose="020F0502020204030204" pitchFamily="34" charset="0"/>
            </a:rPr>
            <a:t>Institutional scope</a:t>
          </a:r>
          <a:r>
            <a:rPr lang="en-US" sz="1300" dirty="0" smtClean="0">
              <a:latin typeface="Calibri" panose="020F0502020204030204" pitchFamily="34" charset="0"/>
              <a:cs typeface="Calibri" panose="020F0502020204030204" pitchFamily="34" charset="0"/>
            </a:rPr>
            <a:t> → The project was developed strictly within the </a:t>
          </a:r>
          <a:r>
            <a:rPr lang="en-US" sz="1300" b="1" dirty="0" smtClean="0">
              <a:latin typeface="Calibri" panose="020F0502020204030204" pitchFamily="34" charset="0"/>
              <a:cs typeface="Calibri" panose="020F0502020204030204" pitchFamily="34" charset="0"/>
            </a:rPr>
            <a:t>institutional mandate of the Directorate of Climate Change</a:t>
          </a:r>
          <a:r>
            <a:rPr lang="en-US" sz="1300" dirty="0" smtClean="0">
              <a:latin typeface="Calibri" panose="020F0502020204030204" pitchFamily="34" charset="0"/>
              <a:cs typeface="Calibri" panose="020F0502020204030204" pitchFamily="34" charset="0"/>
            </a:rPr>
            <a:t>, without overlapping with the statutory responsibilities of other institutions.</a:t>
          </a:r>
          <a:endParaRPr lang="en-US" sz="1300" dirty="0">
            <a:latin typeface="Calibri" panose="020F0502020204030204" pitchFamily="34" charset="0"/>
            <a:cs typeface="Calibri" panose="020F0502020204030204" pitchFamily="34" charset="0"/>
          </a:endParaRPr>
        </a:p>
      </dgm:t>
    </dgm:pt>
    <dgm:pt modelId="{C90BFDF0-3B67-4752-A938-61FCB443D16D}" type="parTrans" cxnId="{28E08451-8985-4DDB-812D-14C2509430B1}">
      <dgm:prSet/>
      <dgm:spPr/>
      <dgm:t>
        <a:bodyPr/>
        <a:lstStyle/>
        <a:p>
          <a:endParaRPr lang="tr-TR"/>
        </a:p>
      </dgm:t>
    </dgm:pt>
    <dgm:pt modelId="{02B5B113-F92F-4250-8AD8-91F75AB0B580}" type="sibTrans" cxnId="{28E08451-8985-4DDB-812D-14C2509430B1}">
      <dgm:prSet/>
      <dgm:spPr/>
      <dgm:t>
        <a:bodyPr/>
        <a:lstStyle/>
        <a:p>
          <a:endParaRPr lang="tr-TR"/>
        </a:p>
      </dgm:t>
    </dgm:pt>
    <dgm:pt modelId="{A8EC0277-FCED-4F11-B7CC-B6323AFA2C69}">
      <dgm:prSet custT="1"/>
      <dgm:spPr/>
      <dgm:t>
        <a:bodyPr/>
        <a:lstStyle/>
        <a:p>
          <a:r>
            <a:rPr lang="en-US" sz="1300" b="1" dirty="0" smtClean="0">
              <a:latin typeface="Calibri" panose="020F0502020204030204" pitchFamily="34" charset="0"/>
              <a:cs typeface="Calibri" panose="020F0502020204030204" pitchFamily="34" charset="0"/>
            </a:rPr>
            <a:t>Financial reference</a:t>
          </a:r>
          <a:r>
            <a:rPr lang="en-US" sz="1300" dirty="0" smtClean="0">
              <a:latin typeface="Calibri" panose="020F0502020204030204" pitchFamily="34" charset="0"/>
              <a:cs typeface="Calibri" panose="020F0502020204030204" pitchFamily="34" charset="0"/>
            </a:rPr>
            <a:t> → Budgetary analysis benefited from the </a:t>
          </a:r>
          <a:r>
            <a:rPr lang="en-US" sz="1300" b="1" dirty="0" smtClean="0">
              <a:latin typeface="Calibri" panose="020F0502020204030204" pitchFamily="34" charset="0"/>
              <a:cs typeface="Calibri" panose="020F0502020204030204" pitchFamily="34" charset="0"/>
            </a:rPr>
            <a:t>EU-funded LULUCF Technical Capacity Development Project</a:t>
          </a:r>
          <a:r>
            <a:rPr lang="en-US" sz="1300" dirty="0" smtClean="0">
              <a:latin typeface="Calibri" panose="020F0502020204030204" pitchFamily="34" charset="0"/>
              <a:cs typeface="Calibri" panose="020F0502020204030204" pitchFamily="34" charset="0"/>
            </a:rPr>
            <a:t>, coordinated by the Directorate, which provided a practical benchmark for financial structuring.</a:t>
          </a:r>
          <a:endParaRPr lang="en-US" sz="1300" dirty="0">
            <a:latin typeface="Calibri" panose="020F0502020204030204" pitchFamily="34" charset="0"/>
            <a:cs typeface="Calibri" panose="020F0502020204030204" pitchFamily="34" charset="0"/>
          </a:endParaRPr>
        </a:p>
      </dgm:t>
    </dgm:pt>
    <dgm:pt modelId="{65C55CB0-CFA8-4BD6-9AA7-B461A81E4A09}" type="parTrans" cxnId="{E63587D5-8C39-4D57-A369-5A8CD9EED662}">
      <dgm:prSet/>
      <dgm:spPr/>
      <dgm:t>
        <a:bodyPr/>
        <a:lstStyle/>
        <a:p>
          <a:endParaRPr lang="tr-TR"/>
        </a:p>
      </dgm:t>
    </dgm:pt>
    <dgm:pt modelId="{321103D1-8EEE-4DD9-B4F2-553E5D61B389}" type="sibTrans" cxnId="{E63587D5-8C39-4D57-A369-5A8CD9EED662}">
      <dgm:prSet/>
      <dgm:spPr/>
      <dgm:t>
        <a:bodyPr/>
        <a:lstStyle/>
        <a:p>
          <a:endParaRPr lang="tr-TR"/>
        </a:p>
      </dgm:t>
    </dgm:pt>
    <dgm:pt modelId="{36269128-D9A8-431E-8A36-5AB54679DD44}">
      <dgm:prSet custT="1"/>
      <dgm:spPr/>
      <dgm:t>
        <a:bodyPr/>
        <a:lstStyle/>
        <a:p>
          <a:r>
            <a:rPr lang="en-US" sz="1300" b="1" dirty="0" smtClean="0">
              <a:latin typeface="Calibri" panose="020F0502020204030204" pitchFamily="34" charset="0"/>
              <a:cs typeface="Calibri" panose="020F0502020204030204" pitchFamily="34" charset="0"/>
            </a:rPr>
            <a:t>Strategic alignment</a:t>
          </a:r>
          <a:r>
            <a:rPr lang="en-US" sz="1300" dirty="0" smtClean="0">
              <a:latin typeface="Calibri" panose="020F0502020204030204" pitchFamily="34" charset="0"/>
              <a:cs typeface="Calibri" panose="020F0502020204030204" pitchFamily="34" charset="0"/>
            </a:rPr>
            <a:t> → The project is fully consistent with </a:t>
          </a:r>
          <a:r>
            <a:rPr lang="en-US" sz="1300" dirty="0" err="1" smtClean="0">
              <a:latin typeface="Calibri" panose="020F0502020204030204" pitchFamily="34" charset="0"/>
              <a:cs typeface="Calibri" panose="020F0502020204030204" pitchFamily="34" charset="0"/>
            </a:rPr>
            <a:t>Türkiye’s</a:t>
          </a:r>
          <a:r>
            <a:rPr lang="en-US" sz="1300" dirty="0" smtClean="0">
              <a:latin typeface="Calibri" panose="020F0502020204030204" pitchFamily="34" charset="0"/>
              <a:cs typeface="Calibri" panose="020F0502020204030204" pitchFamily="34" charset="0"/>
            </a:rPr>
            <a:t> </a:t>
          </a:r>
          <a:r>
            <a:rPr lang="en-US" sz="1300" b="1" dirty="0" smtClean="0">
              <a:latin typeface="Calibri" panose="020F0502020204030204" pitchFamily="34" charset="0"/>
              <a:cs typeface="Calibri" panose="020F0502020204030204" pitchFamily="34" charset="0"/>
            </a:rPr>
            <a:t>NDCs, LTS, and </a:t>
          </a:r>
          <a:r>
            <a:rPr lang="tr-TR" sz="1300" b="1" dirty="0" err="1" smtClean="0">
              <a:latin typeface="Calibri" panose="020F0502020204030204" pitchFamily="34" charset="0"/>
              <a:cs typeface="Calibri" panose="020F0502020204030204" pitchFamily="34" charset="0"/>
            </a:rPr>
            <a:t>action</a:t>
          </a:r>
          <a:r>
            <a:rPr lang="tr-TR" sz="1300" b="1" dirty="0" smtClean="0">
              <a:latin typeface="Calibri" panose="020F0502020204030204" pitchFamily="34" charset="0"/>
              <a:cs typeface="Calibri" panose="020F0502020204030204" pitchFamily="34" charset="0"/>
            </a:rPr>
            <a:t> plan</a:t>
          </a:r>
          <a:r>
            <a:rPr lang="en-US" sz="1300" dirty="0" smtClean="0">
              <a:latin typeface="Calibri" panose="020F0502020204030204" pitchFamily="34" charset="0"/>
              <a:cs typeface="Calibri" panose="020F0502020204030204" pitchFamily="34" charset="0"/>
            </a:rPr>
            <a:t>, ensuring systematic integration of AFOLU into national climate policy frameworks.</a:t>
          </a:r>
          <a:endParaRPr lang="en-US" sz="1300" dirty="0">
            <a:latin typeface="Calibri" panose="020F0502020204030204" pitchFamily="34" charset="0"/>
            <a:cs typeface="Calibri" panose="020F0502020204030204" pitchFamily="34" charset="0"/>
          </a:endParaRPr>
        </a:p>
      </dgm:t>
    </dgm:pt>
    <dgm:pt modelId="{06C96BBC-FF4C-471B-A2FE-057EBDF3DF92}" type="parTrans" cxnId="{0DD94297-5CC5-4E2F-A307-5590B7422304}">
      <dgm:prSet/>
      <dgm:spPr/>
      <dgm:t>
        <a:bodyPr/>
        <a:lstStyle/>
        <a:p>
          <a:endParaRPr lang="tr-TR"/>
        </a:p>
      </dgm:t>
    </dgm:pt>
    <dgm:pt modelId="{4934E24B-3CA0-4D26-9CB7-87F5ECAE6D25}" type="sibTrans" cxnId="{0DD94297-5CC5-4E2F-A307-5590B7422304}">
      <dgm:prSet/>
      <dgm:spPr/>
      <dgm:t>
        <a:bodyPr/>
        <a:lstStyle/>
        <a:p>
          <a:endParaRPr lang="tr-TR"/>
        </a:p>
      </dgm:t>
    </dgm:pt>
    <dgm:pt modelId="{1A8AA28B-973B-4D9F-A742-90E140E67268}">
      <dgm:prSet phldrT="[Metin]" custT="1"/>
      <dgm:spPr>
        <a:ln>
          <a:noFill/>
        </a:ln>
      </dgm:spPr>
      <dgm:t>
        <a:bodyPr/>
        <a:lstStyle/>
        <a:p>
          <a:endParaRPr lang="tr-TR" sz="1400" b="0" dirty="0">
            <a:latin typeface="Calibri" panose="020F0502020204030204" pitchFamily="34" charset="0"/>
            <a:cs typeface="Calibri" panose="020F0502020204030204" pitchFamily="34" charset="0"/>
          </a:endParaRPr>
        </a:p>
      </dgm:t>
    </dgm:pt>
    <dgm:pt modelId="{19AB1AAC-F84B-4711-B52B-450F29CE9603}" type="parTrans" cxnId="{E213C5B4-6B51-4F7B-AA7D-36C2BBD5769C}">
      <dgm:prSet/>
      <dgm:spPr/>
      <dgm:t>
        <a:bodyPr/>
        <a:lstStyle/>
        <a:p>
          <a:endParaRPr lang="tr-TR"/>
        </a:p>
      </dgm:t>
    </dgm:pt>
    <dgm:pt modelId="{551FA7B7-0381-4776-BB53-55D65469A5F0}" type="sibTrans" cxnId="{E213C5B4-6B51-4F7B-AA7D-36C2BBD5769C}">
      <dgm:prSet/>
      <dgm:spPr/>
      <dgm:t>
        <a:bodyPr/>
        <a:lstStyle/>
        <a:p>
          <a:endParaRPr lang="tr-TR"/>
        </a:p>
      </dgm:t>
    </dgm:pt>
    <dgm:pt modelId="{E5F5F96E-F3A2-4BFB-823A-02F2E9B499C4}">
      <dgm:prSet custT="1"/>
      <dgm:spPr/>
      <dgm:t>
        <a:bodyPr/>
        <a:lstStyle/>
        <a:p>
          <a:endParaRPr lang="en-US" sz="1400" dirty="0">
            <a:latin typeface="Calibri" panose="020F0502020204030204" pitchFamily="34" charset="0"/>
            <a:cs typeface="Calibri" panose="020F0502020204030204" pitchFamily="34" charset="0"/>
          </a:endParaRPr>
        </a:p>
      </dgm:t>
    </dgm:pt>
    <dgm:pt modelId="{F76F4424-D43B-4BD0-87E3-A978AF0BE855}" type="parTrans" cxnId="{8AC85C94-CFAF-484C-BA08-B286BC48270B}">
      <dgm:prSet/>
      <dgm:spPr/>
      <dgm:t>
        <a:bodyPr/>
        <a:lstStyle/>
        <a:p>
          <a:endParaRPr lang="tr-TR"/>
        </a:p>
      </dgm:t>
    </dgm:pt>
    <dgm:pt modelId="{7BD499B6-EAC5-47E0-AD65-0A1F7480834E}" type="sibTrans" cxnId="{8AC85C94-CFAF-484C-BA08-B286BC48270B}">
      <dgm:prSet/>
      <dgm:spPr/>
      <dgm:t>
        <a:bodyPr/>
        <a:lstStyle/>
        <a:p>
          <a:endParaRPr lang="tr-TR"/>
        </a:p>
      </dgm:t>
    </dgm:pt>
    <dgm:pt modelId="{C0C46E4C-B295-4B92-89C2-B545241B5BAD}">
      <dgm:prSet phldrT="[Metin]" custT="1"/>
      <dgm:spPr>
        <a:ln>
          <a:noFill/>
        </a:ln>
      </dgm:spPr>
      <dgm:t>
        <a:bodyPr/>
        <a:lstStyle/>
        <a:p>
          <a:endParaRPr lang="tr-TR" sz="1300" dirty="0">
            <a:latin typeface="Calibri" panose="020F0502020204030204" pitchFamily="34" charset="0"/>
            <a:cs typeface="Calibri" panose="020F0502020204030204" pitchFamily="34" charset="0"/>
          </a:endParaRPr>
        </a:p>
      </dgm:t>
    </dgm:pt>
    <dgm:pt modelId="{2B9C6B7E-E730-4166-8131-0D3C6D6185FD}" type="parTrans" cxnId="{BD7E2893-5A30-430B-BD05-F698F8918797}">
      <dgm:prSet/>
      <dgm:spPr/>
      <dgm:t>
        <a:bodyPr/>
        <a:lstStyle/>
        <a:p>
          <a:endParaRPr lang="tr-TR"/>
        </a:p>
      </dgm:t>
    </dgm:pt>
    <dgm:pt modelId="{82B11411-E153-4600-9213-2531C227B3E3}" type="sibTrans" cxnId="{BD7E2893-5A30-430B-BD05-F698F8918797}">
      <dgm:prSet/>
      <dgm:spPr/>
      <dgm:t>
        <a:bodyPr/>
        <a:lstStyle/>
        <a:p>
          <a:endParaRPr lang="tr-TR"/>
        </a:p>
      </dgm:t>
    </dgm:pt>
    <dgm:pt modelId="{54286AEC-57A1-48B3-A707-30D02707D7F2}">
      <dgm:prSet custT="1"/>
      <dgm:spPr/>
      <dgm:t>
        <a:bodyPr/>
        <a:lstStyle/>
        <a:p>
          <a:endParaRPr lang="en-US" sz="1300" dirty="0">
            <a:latin typeface="Calibri" panose="020F0502020204030204" pitchFamily="34" charset="0"/>
            <a:cs typeface="Calibri" panose="020F0502020204030204" pitchFamily="34" charset="0"/>
          </a:endParaRPr>
        </a:p>
      </dgm:t>
    </dgm:pt>
    <dgm:pt modelId="{C5B8D05F-C32E-459A-9F53-0F7EC590EB82}" type="parTrans" cxnId="{675F626B-621E-4A17-812C-D4B394A337E9}">
      <dgm:prSet/>
      <dgm:spPr/>
      <dgm:t>
        <a:bodyPr/>
        <a:lstStyle/>
        <a:p>
          <a:endParaRPr lang="tr-TR"/>
        </a:p>
      </dgm:t>
    </dgm:pt>
    <dgm:pt modelId="{7B202812-4651-402B-AAFA-17E01D44AC3F}" type="sibTrans" cxnId="{675F626B-621E-4A17-812C-D4B394A337E9}">
      <dgm:prSet/>
      <dgm:spPr/>
      <dgm:t>
        <a:bodyPr/>
        <a:lstStyle/>
        <a:p>
          <a:endParaRPr lang="tr-TR"/>
        </a:p>
      </dgm:t>
    </dgm:pt>
    <dgm:pt modelId="{0C844AB7-0ED5-4835-9D71-74781C7068BF}">
      <dgm:prSet custT="1"/>
      <dgm:spPr/>
      <dgm:t>
        <a:bodyPr/>
        <a:lstStyle/>
        <a:p>
          <a:endParaRPr lang="en-US" sz="1300" dirty="0">
            <a:latin typeface="Calibri" panose="020F0502020204030204" pitchFamily="34" charset="0"/>
            <a:cs typeface="Calibri" panose="020F0502020204030204" pitchFamily="34" charset="0"/>
          </a:endParaRPr>
        </a:p>
      </dgm:t>
    </dgm:pt>
    <dgm:pt modelId="{845F51F9-AB9A-4DFB-B56A-C0AA23C094D0}" type="parTrans" cxnId="{D380466F-A47E-40AD-B639-4C4A80639BFE}">
      <dgm:prSet/>
      <dgm:spPr/>
      <dgm:t>
        <a:bodyPr/>
        <a:lstStyle/>
        <a:p>
          <a:endParaRPr lang="tr-TR"/>
        </a:p>
      </dgm:t>
    </dgm:pt>
    <dgm:pt modelId="{48DBF1FB-7307-4627-AED2-82ADE49CA071}" type="sibTrans" cxnId="{D380466F-A47E-40AD-B639-4C4A80639BFE}">
      <dgm:prSet/>
      <dgm:spPr/>
      <dgm:t>
        <a:bodyPr/>
        <a:lstStyle/>
        <a:p>
          <a:endParaRPr lang="tr-TR"/>
        </a:p>
      </dgm:t>
    </dgm:pt>
    <dgm:pt modelId="{532D837D-D7D3-461B-AD66-E52741B81B83}">
      <dgm:prSet custT="1"/>
      <dgm:spPr/>
      <dgm:t>
        <a:bodyPr/>
        <a:lstStyle/>
        <a:p>
          <a:endParaRPr lang="en-US" sz="1300" dirty="0">
            <a:latin typeface="Calibri" panose="020F0502020204030204" pitchFamily="34" charset="0"/>
            <a:cs typeface="Calibri" panose="020F0502020204030204" pitchFamily="34" charset="0"/>
          </a:endParaRPr>
        </a:p>
      </dgm:t>
    </dgm:pt>
    <dgm:pt modelId="{D3CF51E6-ACD6-4167-881C-48FC0AD00CD7}" type="parTrans" cxnId="{049B7E62-CD07-442E-B6DC-2E768704DEBC}">
      <dgm:prSet/>
      <dgm:spPr/>
      <dgm:t>
        <a:bodyPr/>
        <a:lstStyle/>
        <a:p>
          <a:endParaRPr lang="tr-TR"/>
        </a:p>
      </dgm:t>
    </dgm:pt>
    <dgm:pt modelId="{C7F7302F-18EB-453D-8B2F-A5CBF16580FA}" type="sibTrans" cxnId="{049B7E62-CD07-442E-B6DC-2E768704DEBC}">
      <dgm:prSet/>
      <dgm:spPr/>
      <dgm:t>
        <a:bodyPr/>
        <a:lstStyle/>
        <a:p>
          <a:endParaRPr lang="tr-TR"/>
        </a:p>
      </dgm:t>
    </dgm:pt>
    <dgm:pt modelId="{5FA772B1-01CF-4C33-A9C2-8997737AE30A}" type="pres">
      <dgm:prSet presAssocID="{2B625326-3C09-4157-ADB7-A69393435FE8}" presName="linearFlow" presStyleCnt="0">
        <dgm:presLayoutVars>
          <dgm:dir/>
          <dgm:animLvl val="lvl"/>
          <dgm:resizeHandles val="exact"/>
        </dgm:presLayoutVars>
      </dgm:prSet>
      <dgm:spPr/>
      <dgm:t>
        <a:bodyPr/>
        <a:lstStyle/>
        <a:p>
          <a:endParaRPr lang="tr-TR"/>
        </a:p>
      </dgm:t>
    </dgm:pt>
    <dgm:pt modelId="{C15A5526-93BA-4E91-BD3A-D812E0CD8C88}" type="pres">
      <dgm:prSet presAssocID="{C2934FC5-3B90-4229-9057-652EB8B19B8F}" presName="composite" presStyleCnt="0"/>
      <dgm:spPr/>
    </dgm:pt>
    <dgm:pt modelId="{C7C8959C-B7C2-468F-A0E3-823DA7E6D543}" type="pres">
      <dgm:prSet presAssocID="{C2934FC5-3B90-4229-9057-652EB8B19B8F}" presName="parTx" presStyleLbl="node1" presStyleIdx="0" presStyleCnt="2">
        <dgm:presLayoutVars>
          <dgm:chMax val="0"/>
          <dgm:chPref val="0"/>
          <dgm:bulletEnabled val="1"/>
        </dgm:presLayoutVars>
      </dgm:prSet>
      <dgm:spPr/>
      <dgm:t>
        <a:bodyPr/>
        <a:lstStyle/>
        <a:p>
          <a:endParaRPr lang="tr-TR"/>
        </a:p>
      </dgm:t>
    </dgm:pt>
    <dgm:pt modelId="{C1B42E70-05C5-4370-9482-FE8ED1DF4811}" type="pres">
      <dgm:prSet presAssocID="{C2934FC5-3B90-4229-9057-652EB8B19B8F}" presName="parSh" presStyleLbl="node1" presStyleIdx="0" presStyleCnt="2" custScaleX="162105" custLinFactNeighborX="-16570" custLinFactNeighborY="11637"/>
      <dgm:spPr/>
      <dgm:t>
        <a:bodyPr/>
        <a:lstStyle/>
        <a:p>
          <a:endParaRPr lang="tr-TR"/>
        </a:p>
      </dgm:t>
    </dgm:pt>
    <dgm:pt modelId="{0C777D21-7DFC-48F8-A0DE-4C6848B47923}" type="pres">
      <dgm:prSet presAssocID="{C2934FC5-3B90-4229-9057-652EB8B19B8F}" presName="desTx" presStyleLbl="fgAcc1" presStyleIdx="0" presStyleCnt="2" custScaleX="240222" custLinFactNeighborX="1551" custLinFactNeighborY="-743">
        <dgm:presLayoutVars>
          <dgm:bulletEnabled val="1"/>
        </dgm:presLayoutVars>
      </dgm:prSet>
      <dgm:spPr/>
      <dgm:t>
        <a:bodyPr/>
        <a:lstStyle/>
        <a:p>
          <a:endParaRPr lang="tr-TR"/>
        </a:p>
      </dgm:t>
    </dgm:pt>
    <dgm:pt modelId="{D1D811C5-F07B-4C8D-B6D1-D2630F279CA2}" type="pres">
      <dgm:prSet presAssocID="{8B29CA5A-905B-44A9-A26C-3DCB2E79E636}" presName="sibTrans" presStyleLbl="sibTrans2D1" presStyleIdx="0" presStyleCnt="1" custScaleX="82645" custScaleY="60157" custLinFactNeighborX="-1066" custLinFactNeighborY="-2271"/>
      <dgm:spPr>
        <a:prstGeom prst="rightArrow">
          <a:avLst/>
        </a:prstGeom>
      </dgm:spPr>
      <dgm:t>
        <a:bodyPr/>
        <a:lstStyle/>
        <a:p>
          <a:endParaRPr lang="tr-TR"/>
        </a:p>
      </dgm:t>
    </dgm:pt>
    <dgm:pt modelId="{FBC9056E-1393-42F1-B3DB-6676891DD708}" type="pres">
      <dgm:prSet presAssocID="{8B29CA5A-905B-44A9-A26C-3DCB2E79E636}" presName="connTx" presStyleLbl="sibTrans2D1" presStyleIdx="0" presStyleCnt="1"/>
      <dgm:spPr/>
      <dgm:t>
        <a:bodyPr/>
        <a:lstStyle/>
        <a:p>
          <a:endParaRPr lang="tr-TR"/>
        </a:p>
      </dgm:t>
    </dgm:pt>
    <dgm:pt modelId="{1752EA10-0B49-4F33-8792-014831A25E85}" type="pres">
      <dgm:prSet presAssocID="{1AAB9E9E-2BD2-490F-88A5-CAB20F7CCC42}" presName="composite" presStyleCnt="0"/>
      <dgm:spPr/>
    </dgm:pt>
    <dgm:pt modelId="{4962523A-9D9A-4B4E-95D0-0D49308B53CD}" type="pres">
      <dgm:prSet presAssocID="{1AAB9E9E-2BD2-490F-88A5-CAB20F7CCC42}" presName="parTx" presStyleLbl="node1" presStyleIdx="0" presStyleCnt="2">
        <dgm:presLayoutVars>
          <dgm:chMax val="0"/>
          <dgm:chPref val="0"/>
          <dgm:bulletEnabled val="1"/>
        </dgm:presLayoutVars>
      </dgm:prSet>
      <dgm:spPr/>
      <dgm:t>
        <a:bodyPr/>
        <a:lstStyle/>
        <a:p>
          <a:endParaRPr lang="tr-TR"/>
        </a:p>
      </dgm:t>
    </dgm:pt>
    <dgm:pt modelId="{5DFA7EA9-5A7B-4D1B-A0B5-808368D9F4ED}" type="pres">
      <dgm:prSet presAssocID="{1AAB9E9E-2BD2-490F-88A5-CAB20F7CCC42}" presName="parSh" presStyleLbl="node1" presStyleIdx="1" presStyleCnt="2" custScaleX="195248" custLinFactNeighborX="78777" custLinFactNeighborY="13025"/>
      <dgm:spPr/>
      <dgm:t>
        <a:bodyPr/>
        <a:lstStyle/>
        <a:p>
          <a:endParaRPr lang="tr-TR"/>
        </a:p>
      </dgm:t>
    </dgm:pt>
    <dgm:pt modelId="{33315431-036E-45B3-819E-DB8AF7C92C71}" type="pres">
      <dgm:prSet presAssocID="{1AAB9E9E-2BD2-490F-88A5-CAB20F7CCC42}" presName="desTx" presStyleLbl="fgAcc1" presStyleIdx="1" presStyleCnt="2" custScaleX="313679" custScaleY="99205">
        <dgm:presLayoutVars>
          <dgm:bulletEnabled val="1"/>
        </dgm:presLayoutVars>
      </dgm:prSet>
      <dgm:spPr/>
      <dgm:t>
        <a:bodyPr/>
        <a:lstStyle/>
        <a:p>
          <a:endParaRPr lang="tr-TR"/>
        </a:p>
      </dgm:t>
    </dgm:pt>
  </dgm:ptLst>
  <dgm:cxnLst>
    <dgm:cxn modelId="{BD7E2893-5A30-430B-BD05-F698F8918797}" srcId="{1AAB9E9E-2BD2-490F-88A5-CAB20F7CCC42}" destId="{C0C46E4C-B295-4B92-89C2-B545241B5BAD}" srcOrd="1" destOrd="0" parTransId="{2B9C6B7E-E730-4166-8131-0D3C6D6185FD}" sibTransId="{82B11411-E153-4600-9213-2531C227B3E3}"/>
    <dgm:cxn modelId="{675F626B-621E-4A17-812C-D4B394A337E9}" srcId="{1AAB9E9E-2BD2-490F-88A5-CAB20F7CCC42}" destId="{54286AEC-57A1-48B3-A707-30D02707D7F2}" srcOrd="3" destOrd="0" parTransId="{C5B8D05F-C32E-459A-9F53-0F7EC590EB82}" sibTransId="{7B202812-4651-402B-AAFA-17E01D44AC3F}"/>
    <dgm:cxn modelId="{FBB1CBB7-2E49-49AB-93BE-FBE0D447CF8D}" type="presOf" srcId="{532D837D-D7D3-461B-AD66-E52741B81B83}" destId="{33315431-036E-45B3-819E-DB8AF7C92C71}" srcOrd="0" destOrd="7" presId="urn:microsoft.com/office/officeart/2005/8/layout/process3"/>
    <dgm:cxn modelId="{E7828A14-D988-4CE6-8CB9-AAB3821A3C54}" type="presOf" srcId="{4E943BAF-5CB1-4D35-96B2-93FBDD1B4F14}" destId="{33315431-036E-45B3-819E-DB8AF7C92C71}" srcOrd="0" destOrd="4" presId="urn:microsoft.com/office/officeart/2005/8/layout/process3"/>
    <dgm:cxn modelId="{61DB0C16-DEED-4DD5-82F9-B75688DD57C8}" type="presOf" srcId="{1A8AA28B-973B-4D9F-A742-90E140E67268}" destId="{0C777D21-7DFC-48F8-A0DE-4C6848B47923}" srcOrd="0" destOrd="1" presId="urn:microsoft.com/office/officeart/2005/8/layout/process3"/>
    <dgm:cxn modelId="{541C55C6-E92C-4820-A96B-B8BDDC7879E2}" srcId="{1AAB9E9E-2BD2-490F-88A5-CAB20F7CCC42}" destId="{A9ADBC5C-DBC2-4209-AC1B-A8A7344C8BE2}" srcOrd="0" destOrd="0" parTransId="{E8154684-64C4-4CDA-B158-4EAA3626272A}" sibTransId="{65B966B4-BE0A-489C-8A2B-96FCF82284D7}"/>
    <dgm:cxn modelId="{7BDADBC4-C00F-4A1F-83DB-75EC376A1311}" type="presOf" srcId="{395DA1D4-E110-493E-9CBB-328441258755}" destId="{0C777D21-7DFC-48F8-A0DE-4C6848B47923}" srcOrd="0" destOrd="2" presId="urn:microsoft.com/office/officeart/2005/8/layout/process3"/>
    <dgm:cxn modelId="{D6EF1716-2EEA-46EB-9991-4863DECB88E6}" type="presOf" srcId="{54286AEC-57A1-48B3-A707-30D02707D7F2}" destId="{33315431-036E-45B3-819E-DB8AF7C92C71}" srcOrd="0" destOrd="3" presId="urn:microsoft.com/office/officeart/2005/8/layout/process3"/>
    <dgm:cxn modelId="{ED379473-8252-493C-9EEE-4045FE503F23}" type="presOf" srcId="{E5F5F96E-F3A2-4BFB-823A-02F2E9B499C4}" destId="{0C777D21-7DFC-48F8-A0DE-4C6848B47923}" srcOrd="0" destOrd="3" presId="urn:microsoft.com/office/officeart/2005/8/layout/process3"/>
    <dgm:cxn modelId="{28E08451-8985-4DDB-812D-14C2509430B1}" srcId="{1AAB9E9E-2BD2-490F-88A5-CAB20F7CCC42}" destId="{4E943BAF-5CB1-4D35-96B2-93FBDD1B4F14}" srcOrd="4" destOrd="0" parTransId="{C90BFDF0-3B67-4752-A938-61FCB443D16D}" sibTransId="{02B5B113-F92F-4250-8AD8-91F75AB0B580}"/>
    <dgm:cxn modelId="{4F90DB47-70A0-4FDF-B4AD-E2510E49B46A}" type="presOf" srcId="{8B29CA5A-905B-44A9-A26C-3DCB2E79E636}" destId="{D1D811C5-F07B-4C8D-B6D1-D2630F279CA2}" srcOrd="0" destOrd="0" presId="urn:microsoft.com/office/officeart/2005/8/layout/process3"/>
    <dgm:cxn modelId="{F46C841E-B33F-4081-8446-3F650DF4235D}" type="presOf" srcId="{1AAB9E9E-2BD2-490F-88A5-CAB20F7CCC42}" destId="{5DFA7EA9-5A7B-4D1B-A0B5-808368D9F4ED}" srcOrd="1" destOrd="0" presId="urn:microsoft.com/office/officeart/2005/8/layout/process3"/>
    <dgm:cxn modelId="{E213C5B4-6B51-4F7B-AA7D-36C2BBD5769C}" srcId="{C2934FC5-3B90-4229-9057-652EB8B19B8F}" destId="{1A8AA28B-973B-4D9F-A742-90E140E67268}" srcOrd="1" destOrd="0" parTransId="{19AB1AAC-F84B-4711-B52B-450F29CE9603}" sibTransId="{551FA7B7-0381-4776-BB53-55D65469A5F0}"/>
    <dgm:cxn modelId="{FCB043F2-7C00-442F-8A96-CF400171BF23}" type="presOf" srcId="{C2934FC5-3B90-4229-9057-652EB8B19B8F}" destId="{C7C8959C-B7C2-468F-A0E3-823DA7E6D543}" srcOrd="0" destOrd="0" presId="urn:microsoft.com/office/officeart/2005/8/layout/process3"/>
    <dgm:cxn modelId="{9FAF9DDA-7CF7-455D-BC45-DA0F5273F432}" type="presOf" srcId="{0C844AB7-0ED5-4835-9D71-74781C7068BF}" destId="{33315431-036E-45B3-819E-DB8AF7C92C71}" srcOrd="0" destOrd="5" presId="urn:microsoft.com/office/officeart/2005/8/layout/process3"/>
    <dgm:cxn modelId="{A588B05D-31D0-4628-A667-8138558E4EE2}" type="presOf" srcId="{C0C46E4C-B295-4B92-89C2-B545241B5BAD}" destId="{33315431-036E-45B3-819E-DB8AF7C92C71}" srcOrd="0" destOrd="1" presId="urn:microsoft.com/office/officeart/2005/8/layout/process3"/>
    <dgm:cxn modelId="{049B7E62-CD07-442E-B6DC-2E768704DEBC}" srcId="{1AAB9E9E-2BD2-490F-88A5-CAB20F7CCC42}" destId="{532D837D-D7D3-461B-AD66-E52741B81B83}" srcOrd="7" destOrd="0" parTransId="{D3CF51E6-ACD6-4167-881C-48FC0AD00CD7}" sibTransId="{C7F7302F-18EB-453D-8B2F-A5CBF16580FA}"/>
    <dgm:cxn modelId="{48EACA22-3151-4EAA-B9C2-AFEC1092AB9F}" type="presOf" srcId="{36269128-D9A8-431E-8A36-5AB54679DD44}" destId="{33315431-036E-45B3-819E-DB8AF7C92C71}" srcOrd="0" destOrd="8" presId="urn:microsoft.com/office/officeart/2005/8/layout/process3"/>
    <dgm:cxn modelId="{CA6E9104-D87E-411E-AE30-9DC2E6FF47FB}" type="presOf" srcId="{A9ADBC5C-DBC2-4209-AC1B-A8A7344C8BE2}" destId="{33315431-036E-45B3-819E-DB8AF7C92C71}" srcOrd="0" destOrd="0" presId="urn:microsoft.com/office/officeart/2005/8/layout/process3"/>
    <dgm:cxn modelId="{C24F9F1E-2D4A-48C3-BA02-398048772488}" type="presOf" srcId="{EDF2F5F3-15D2-41A4-BE91-ED8CD447C378}" destId="{33315431-036E-45B3-819E-DB8AF7C92C71}" srcOrd="0" destOrd="2" presId="urn:microsoft.com/office/officeart/2005/8/layout/process3"/>
    <dgm:cxn modelId="{C0FEF691-C766-48E0-AECB-B0ACE2BED567}" type="presOf" srcId="{3C4A4338-488B-4B8B-A0CF-2C357C5EBE05}" destId="{0C777D21-7DFC-48F8-A0DE-4C6848B47923}" srcOrd="0" destOrd="0" presId="urn:microsoft.com/office/officeart/2005/8/layout/process3"/>
    <dgm:cxn modelId="{6F888D82-CBBB-417E-94D1-E196FC257D74}" srcId="{2B625326-3C09-4157-ADB7-A69393435FE8}" destId="{C2934FC5-3B90-4229-9057-652EB8B19B8F}" srcOrd="0" destOrd="0" parTransId="{B77F0BEA-328C-4D0E-A3BD-48961F87E3D2}" sibTransId="{8B29CA5A-905B-44A9-A26C-3DCB2E79E636}"/>
    <dgm:cxn modelId="{D03FDA4A-C4F1-4366-9ECA-E21494411054}" srcId="{1AAB9E9E-2BD2-490F-88A5-CAB20F7CCC42}" destId="{EDF2F5F3-15D2-41A4-BE91-ED8CD447C378}" srcOrd="2" destOrd="0" parTransId="{9B880E34-E82F-4F30-BB3E-A21FA35B46CB}" sibTransId="{403FA853-E5A6-45DE-AFD3-0A81A3D97125}"/>
    <dgm:cxn modelId="{EFB9738B-1433-40A9-B733-A5754457338F}" type="presOf" srcId="{1AAB9E9E-2BD2-490F-88A5-CAB20F7CCC42}" destId="{4962523A-9D9A-4B4E-95D0-0D49308B53CD}" srcOrd="0" destOrd="0" presId="urn:microsoft.com/office/officeart/2005/8/layout/process3"/>
    <dgm:cxn modelId="{E0BC614B-91B1-4B0E-8038-31607A2FF4DB}" srcId="{C2934FC5-3B90-4229-9057-652EB8B19B8F}" destId="{3C4A4338-488B-4B8B-A0CF-2C357C5EBE05}" srcOrd="0" destOrd="0" parTransId="{FA3620CF-8FC7-47A3-B7D8-D89845C1B704}" sibTransId="{C861791E-D1DB-426C-AE6B-2C73248DEBD9}"/>
    <dgm:cxn modelId="{D380466F-A47E-40AD-B639-4C4A80639BFE}" srcId="{1AAB9E9E-2BD2-490F-88A5-CAB20F7CCC42}" destId="{0C844AB7-0ED5-4835-9D71-74781C7068BF}" srcOrd="5" destOrd="0" parTransId="{845F51F9-AB9A-4DFB-B56A-C0AA23C094D0}" sibTransId="{48DBF1FB-7307-4627-AED2-82ADE49CA071}"/>
    <dgm:cxn modelId="{E5E72600-C414-448E-B251-980AAB020948}" srcId="{C2934FC5-3B90-4229-9057-652EB8B19B8F}" destId="{9B036EEF-DB12-4872-AE53-3F0704754B68}" srcOrd="4" destOrd="0" parTransId="{1CBF1928-9849-41E9-8E9C-351B7861DF33}" sibTransId="{12AB1898-26D9-418F-8830-A54EC5E0570C}"/>
    <dgm:cxn modelId="{5DBDC18E-9EE4-4D3A-87D0-A9D0A1B11DD0}" srcId="{C2934FC5-3B90-4229-9057-652EB8B19B8F}" destId="{395DA1D4-E110-493E-9CBB-328441258755}" srcOrd="2" destOrd="0" parTransId="{1B3C7AE0-B26C-4338-969B-5803B3F5A9A9}" sibTransId="{7487EB91-6901-40BC-9376-FBA0151B9EA7}"/>
    <dgm:cxn modelId="{C432F9C9-0F42-4184-85E2-202B2D6B1A44}" type="presOf" srcId="{C2934FC5-3B90-4229-9057-652EB8B19B8F}" destId="{C1B42E70-05C5-4370-9482-FE8ED1DF4811}" srcOrd="1" destOrd="0" presId="urn:microsoft.com/office/officeart/2005/8/layout/process3"/>
    <dgm:cxn modelId="{411EF741-4127-413B-BF08-410F10FBC484}" type="presOf" srcId="{2B625326-3C09-4157-ADB7-A69393435FE8}" destId="{5FA772B1-01CF-4C33-A9C2-8997737AE30A}" srcOrd="0" destOrd="0" presId="urn:microsoft.com/office/officeart/2005/8/layout/process3"/>
    <dgm:cxn modelId="{0DD94297-5CC5-4E2F-A307-5590B7422304}" srcId="{1AAB9E9E-2BD2-490F-88A5-CAB20F7CCC42}" destId="{36269128-D9A8-431E-8A36-5AB54679DD44}" srcOrd="8" destOrd="0" parTransId="{06C96BBC-FF4C-471B-A2FE-057EBDF3DF92}" sibTransId="{4934E24B-3CA0-4D26-9CB7-87F5ECAE6D25}"/>
    <dgm:cxn modelId="{EA6F7B27-C132-4738-9E79-25C788CB6872}" srcId="{2B625326-3C09-4157-ADB7-A69393435FE8}" destId="{1AAB9E9E-2BD2-490F-88A5-CAB20F7CCC42}" srcOrd="1" destOrd="0" parTransId="{55257E5A-7633-41F5-8BCD-E6EE0D47EF8F}" sibTransId="{D67129B7-10B7-4A92-BA1C-CDACECB8B21F}"/>
    <dgm:cxn modelId="{E63587D5-8C39-4D57-A369-5A8CD9EED662}" srcId="{1AAB9E9E-2BD2-490F-88A5-CAB20F7CCC42}" destId="{A8EC0277-FCED-4F11-B7CC-B6323AFA2C69}" srcOrd="6" destOrd="0" parTransId="{65C55CB0-CFA8-4BD6-9AA7-B461A81E4A09}" sibTransId="{321103D1-8EEE-4DD9-B4F2-553E5D61B389}"/>
    <dgm:cxn modelId="{58437C94-C17C-4F34-BEE7-02C39C39AACF}" type="presOf" srcId="{9B036EEF-DB12-4872-AE53-3F0704754B68}" destId="{0C777D21-7DFC-48F8-A0DE-4C6848B47923}" srcOrd="0" destOrd="4" presId="urn:microsoft.com/office/officeart/2005/8/layout/process3"/>
    <dgm:cxn modelId="{75ED8DD1-7784-4EA4-9521-0DD95711A95D}" type="presOf" srcId="{8B29CA5A-905B-44A9-A26C-3DCB2E79E636}" destId="{FBC9056E-1393-42F1-B3DB-6676891DD708}" srcOrd="1" destOrd="0" presId="urn:microsoft.com/office/officeart/2005/8/layout/process3"/>
    <dgm:cxn modelId="{A1D63B77-4BDE-43DD-B82E-9AB5745195F9}" type="presOf" srcId="{A8EC0277-FCED-4F11-B7CC-B6323AFA2C69}" destId="{33315431-036E-45B3-819E-DB8AF7C92C71}" srcOrd="0" destOrd="6" presId="urn:microsoft.com/office/officeart/2005/8/layout/process3"/>
    <dgm:cxn modelId="{8AC85C94-CFAF-484C-BA08-B286BC48270B}" srcId="{C2934FC5-3B90-4229-9057-652EB8B19B8F}" destId="{E5F5F96E-F3A2-4BFB-823A-02F2E9B499C4}" srcOrd="3" destOrd="0" parTransId="{F76F4424-D43B-4BD0-87E3-A978AF0BE855}" sibTransId="{7BD499B6-EAC5-47E0-AD65-0A1F7480834E}"/>
    <dgm:cxn modelId="{9AB10F25-0C61-4E01-AE47-8819463C6CFD}" type="presParOf" srcId="{5FA772B1-01CF-4C33-A9C2-8997737AE30A}" destId="{C15A5526-93BA-4E91-BD3A-D812E0CD8C88}" srcOrd="0" destOrd="0" presId="urn:microsoft.com/office/officeart/2005/8/layout/process3"/>
    <dgm:cxn modelId="{32F06D6C-89E0-4041-8D21-2FF9CEB0CDEE}" type="presParOf" srcId="{C15A5526-93BA-4E91-BD3A-D812E0CD8C88}" destId="{C7C8959C-B7C2-468F-A0E3-823DA7E6D543}" srcOrd="0" destOrd="0" presId="urn:microsoft.com/office/officeart/2005/8/layout/process3"/>
    <dgm:cxn modelId="{478A2871-70F4-403F-928C-1EFA4923AF3F}" type="presParOf" srcId="{C15A5526-93BA-4E91-BD3A-D812E0CD8C88}" destId="{C1B42E70-05C5-4370-9482-FE8ED1DF4811}" srcOrd="1" destOrd="0" presId="urn:microsoft.com/office/officeart/2005/8/layout/process3"/>
    <dgm:cxn modelId="{D622A76A-958F-4296-8324-5145F32C51E8}" type="presParOf" srcId="{C15A5526-93BA-4E91-BD3A-D812E0CD8C88}" destId="{0C777D21-7DFC-48F8-A0DE-4C6848B47923}" srcOrd="2" destOrd="0" presId="urn:microsoft.com/office/officeart/2005/8/layout/process3"/>
    <dgm:cxn modelId="{66553A9D-32CD-47F8-8CB4-D8C32BDC172E}" type="presParOf" srcId="{5FA772B1-01CF-4C33-A9C2-8997737AE30A}" destId="{D1D811C5-F07B-4C8D-B6D1-D2630F279CA2}" srcOrd="1" destOrd="0" presId="urn:microsoft.com/office/officeart/2005/8/layout/process3"/>
    <dgm:cxn modelId="{DE4D9947-4EBD-47E0-93E3-62B9ED464587}" type="presParOf" srcId="{D1D811C5-F07B-4C8D-B6D1-D2630F279CA2}" destId="{FBC9056E-1393-42F1-B3DB-6676891DD708}" srcOrd="0" destOrd="0" presId="urn:microsoft.com/office/officeart/2005/8/layout/process3"/>
    <dgm:cxn modelId="{66A07008-F022-4049-8567-9002C1588EE9}" type="presParOf" srcId="{5FA772B1-01CF-4C33-A9C2-8997737AE30A}" destId="{1752EA10-0B49-4F33-8792-014831A25E85}" srcOrd="2" destOrd="0" presId="urn:microsoft.com/office/officeart/2005/8/layout/process3"/>
    <dgm:cxn modelId="{4C965D49-7398-4065-9CB4-64C655942E2C}" type="presParOf" srcId="{1752EA10-0B49-4F33-8792-014831A25E85}" destId="{4962523A-9D9A-4B4E-95D0-0D49308B53CD}" srcOrd="0" destOrd="0" presId="urn:microsoft.com/office/officeart/2005/8/layout/process3"/>
    <dgm:cxn modelId="{F311286A-1F97-456E-925E-C247335CD630}" type="presParOf" srcId="{1752EA10-0B49-4F33-8792-014831A25E85}" destId="{5DFA7EA9-5A7B-4D1B-A0B5-808368D9F4ED}" srcOrd="1" destOrd="0" presId="urn:microsoft.com/office/officeart/2005/8/layout/process3"/>
    <dgm:cxn modelId="{9233C5A0-D181-4459-89B1-03807254AAB8}" type="presParOf" srcId="{1752EA10-0B49-4F33-8792-014831A25E85}" destId="{33315431-036E-45B3-819E-DB8AF7C92C71}"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AAF309F-F5A7-40EB-96B7-B2E48D8939D8}" type="doc">
      <dgm:prSet loTypeId="urn:microsoft.com/office/officeart/2008/layout/IncreasingCircleProcess" loCatId="process" qsTypeId="urn:microsoft.com/office/officeart/2005/8/quickstyle/simple1" qsCatId="simple" csTypeId="urn:microsoft.com/office/officeart/2005/8/colors/accent0_1" csCatId="mainScheme" phldr="1"/>
      <dgm:spPr/>
    </dgm:pt>
    <dgm:pt modelId="{76752D97-5CEE-4515-BCC0-D88E3B51E758}">
      <dgm:prSet phldrT="[Metin]" custT="1"/>
      <dgm:spPr/>
      <dgm:t>
        <a:bodyPr/>
        <a:lstStyle/>
        <a:p>
          <a:r>
            <a:rPr lang="tr-TR" sz="1600" b="1" dirty="0" err="1" smtClean="0">
              <a:latin typeface="Calibri" panose="020F0502020204030204" pitchFamily="34" charset="0"/>
              <a:cs typeface="Calibri" panose="020F0502020204030204" pitchFamily="34" charset="0"/>
            </a:rPr>
            <a:t>Pre</a:t>
          </a:r>
          <a:r>
            <a:rPr lang="tr-TR" sz="1600" b="1" dirty="0" smtClean="0">
              <a:latin typeface="Calibri" panose="020F0502020204030204" pitchFamily="34" charset="0"/>
              <a:cs typeface="Calibri" panose="020F0502020204030204" pitchFamily="34" charset="0"/>
            </a:rPr>
            <a:t>-Project </a:t>
          </a:r>
          <a:r>
            <a:rPr lang="tr-TR" sz="1600" b="1" dirty="0" err="1" smtClean="0">
              <a:latin typeface="Calibri" panose="020F0502020204030204" pitchFamily="34" charset="0"/>
              <a:cs typeface="Calibri" panose="020F0502020204030204" pitchFamily="34" charset="0"/>
            </a:rPr>
            <a:t>Phase</a:t>
          </a:r>
          <a:endParaRPr lang="tr-TR" sz="1600" b="1" dirty="0" smtClean="0">
            <a:latin typeface="Calibri" panose="020F0502020204030204" pitchFamily="34" charset="0"/>
            <a:cs typeface="Calibri" panose="020F0502020204030204" pitchFamily="34" charset="0"/>
          </a:endParaRPr>
        </a:p>
        <a:p>
          <a:r>
            <a:rPr lang="en-US" sz="1600" dirty="0" smtClean="0">
              <a:latin typeface="Calibri" panose="020F0502020204030204" pitchFamily="34" charset="0"/>
              <a:cs typeface="Calibri" panose="020F0502020204030204" pitchFamily="34" charset="0"/>
            </a:rPr>
            <a:t>Finalization of </a:t>
          </a:r>
          <a:r>
            <a:rPr lang="en-US" sz="1600" dirty="0" err="1" smtClean="0">
              <a:latin typeface="Calibri" panose="020F0502020204030204" pitchFamily="34" charset="0"/>
              <a:cs typeface="Calibri" panose="020F0502020204030204" pitchFamily="34" charset="0"/>
            </a:rPr>
            <a:t>Türkiye’s</a:t>
          </a:r>
          <a:r>
            <a:rPr lang="en-US" sz="1600" dirty="0" smtClean="0">
              <a:latin typeface="Calibri" panose="020F0502020204030204" pitchFamily="34" charset="0"/>
              <a:cs typeface="Calibri" panose="020F0502020204030204" pitchFamily="34" charset="0"/>
            </a:rPr>
            <a:t> </a:t>
          </a:r>
          <a:r>
            <a:rPr lang="en-US" sz="1600" b="1" dirty="0" smtClean="0">
              <a:latin typeface="Calibri" panose="020F0502020204030204" pitchFamily="34" charset="0"/>
              <a:cs typeface="Calibri" panose="020F0502020204030204" pitchFamily="34" charset="0"/>
            </a:rPr>
            <a:t>LTS and Action Plan</a:t>
          </a:r>
          <a:endParaRPr lang="en-US" sz="1600" dirty="0" smtClean="0">
            <a:latin typeface="Calibri" panose="020F0502020204030204" pitchFamily="34" charset="0"/>
            <a:cs typeface="Calibri" panose="020F0502020204030204" pitchFamily="34" charset="0"/>
          </a:endParaRPr>
        </a:p>
        <a:p>
          <a:r>
            <a:rPr lang="en-US" sz="1600" dirty="0" smtClean="0">
              <a:latin typeface="Calibri" panose="020F0502020204030204" pitchFamily="34" charset="0"/>
              <a:cs typeface="Calibri" panose="020F0502020204030204" pitchFamily="34" charset="0"/>
            </a:rPr>
            <a:t>Project concept identified as a </a:t>
          </a:r>
          <a:r>
            <a:rPr lang="en-US" sz="1600" b="1" dirty="0" smtClean="0">
              <a:latin typeface="Calibri" panose="020F0502020204030204" pitchFamily="34" charset="0"/>
              <a:cs typeface="Calibri" panose="020F0502020204030204" pitchFamily="34" charset="0"/>
            </a:rPr>
            <a:t>strategic tool</a:t>
          </a:r>
          <a:r>
            <a:rPr lang="en-US" sz="1600" dirty="0" smtClean="0">
              <a:latin typeface="Calibri" panose="020F0502020204030204" pitchFamily="34" charset="0"/>
              <a:cs typeface="Calibri" panose="020F0502020204030204" pitchFamily="34" charset="0"/>
            </a:rPr>
            <a:t> to strengthen AFOLU capacity</a:t>
          </a:r>
          <a:endParaRPr lang="tr-TR" sz="1600" dirty="0">
            <a:latin typeface="Calibri" panose="020F0502020204030204" pitchFamily="34" charset="0"/>
            <a:cs typeface="Calibri" panose="020F0502020204030204" pitchFamily="34" charset="0"/>
          </a:endParaRPr>
        </a:p>
      </dgm:t>
    </dgm:pt>
    <dgm:pt modelId="{05091DD0-8430-4AB9-BF6E-8D23215315AD}" type="parTrans" cxnId="{60FD7C5B-633D-49F5-8D7B-DC2393CB2522}">
      <dgm:prSet/>
      <dgm:spPr/>
      <dgm:t>
        <a:bodyPr/>
        <a:lstStyle/>
        <a:p>
          <a:endParaRPr lang="tr-TR"/>
        </a:p>
      </dgm:t>
    </dgm:pt>
    <dgm:pt modelId="{FBEB8A94-80F0-47D6-9C5D-B648220F4EA0}" type="sibTrans" cxnId="{60FD7C5B-633D-49F5-8D7B-DC2393CB2522}">
      <dgm:prSet/>
      <dgm:spPr/>
      <dgm:t>
        <a:bodyPr/>
        <a:lstStyle/>
        <a:p>
          <a:endParaRPr lang="tr-TR"/>
        </a:p>
      </dgm:t>
    </dgm:pt>
    <dgm:pt modelId="{7D48174B-0ED1-4776-99BF-863143D39531}">
      <dgm:prSet phldrT="[Metin]" custT="1"/>
      <dgm:spPr/>
      <dgm:t>
        <a:bodyPr/>
        <a:lstStyle/>
        <a:p>
          <a:r>
            <a:rPr lang="tr-TR" sz="1600" b="1" dirty="0" smtClean="0">
              <a:latin typeface="Calibri" panose="020F0502020204030204" pitchFamily="34" charset="0"/>
              <a:cs typeface="Calibri" panose="020F0502020204030204" pitchFamily="34" charset="0"/>
            </a:rPr>
            <a:t>Project </a:t>
          </a:r>
          <a:r>
            <a:rPr lang="tr-TR" sz="1600" b="1" dirty="0" err="1" smtClean="0">
              <a:latin typeface="Calibri" panose="020F0502020204030204" pitchFamily="34" charset="0"/>
              <a:cs typeface="Calibri" panose="020F0502020204030204" pitchFamily="34" charset="0"/>
            </a:rPr>
            <a:t>Inception</a:t>
          </a:r>
          <a:endParaRPr lang="tr-TR" sz="1600" b="1" dirty="0" smtClean="0">
            <a:latin typeface="Calibri" panose="020F0502020204030204" pitchFamily="34" charset="0"/>
            <a:cs typeface="Calibri" panose="020F0502020204030204" pitchFamily="34" charset="0"/>
          </a:endParaRPr>
        </a:p>
        <a:p>
          <a:r>
            <a:rPr lang="en-US" sz="1600" dirty="0" smtClean="0">
              <a:latin typeface="Calibri" panose="020F0502020204030204" pitchFamily="34" charset="0"/>
              <a:cs typeface="Calibri" panose="020F0502020204030204" pitchFamily="34" charset="0"/>
            </a:rPr>
            <a:t>Preparation of </a:t>
          </a:r>
          <a:r>
            <a:rPr lang="en-US" sz="1600" dirty="0" err="1" smtClean="0">
              <a:latin typeface="Calibri" panose="020F0502020204030204" pitchFamily="34" charset="0"/>
              <a:cs typeface="Calibri" panose="020F0502020204030204" pitchFamily="34" charset="0"/>
            </a:rPr>
            <a:t>Türkiye’s</a:t>
          </a:r>
          <a:r>
            <a:rPr lang="en-US" sz="1600" dirty="0" smtClean="0">
              <a:latin typeface="Calibri" panose="020F0502020204030204" pitchFamily="34" charset="0"/>
              <a:cs typeface="Calibri" panose="020F0502020204030204" pitchFamily="34" charset="0"/>
            </a:rPr>
            <a:t> </a:t>
          </a:r>
          <a:r>
            <a:rPr lang="en-US" sz="1600" b="1" dirty="0" smtClean="0">
              <a:latin typeface="Calibri" panose="020F0502020204030204" pitchFamily="34" charset="0"/>
              <a:cs typeface="Calibri" panose="020F0502020204030204" pitchFamily="34" charset="0"/>
            </a:rPr>
            <a:t>2nd NDC</a:t>
          </a:r>
        </a:p>
        <a:p>
          <a:r>
            <a:rPr lang="en-US" sz="1600" dirty="0" smtClean="0">
              <a:solidFill>
                <a:schemeClr val="tx1"/>
              </a:solidFill>
              <a:latin typeface="Calibri" panose="020F0502020204030204" pitchFamily="34" charset="0"/>
              <a:cs typeface="Calibri" panose="020F0502020204030204" pitchFamily="34" charset="0"/>
            </a:rPr>
            <a:t>NDC-aligned accelerator for scaled-up mitigation</a:t>
          </a:r>
          <a:endParaRPr lang="tr-TR" sz="1600" dirty="0">
            <a:latin typeface="Calibri" panose="020F0502020204030204" pitchFamily="34" charset="0"/>
            <a:cs typeface="Calibri" panose="020F0502020204030204" pitchFamily="34" charset="0"/>
          </a:endParaRPr>
        </a:p>
      </dgm:t>
    </dgm:pt>
    <dgm:pt modelId="{BD983856-F891-486B-BA4F-3F292DF2C976}" type="parTrans" cxnId="{CA0F0068-37C3-4E1E-A3CB-5B4AA29B1A2C}">
      <dgm:prSet/>
      <dgm:spPr/>
      <dgm:t>
        <a:bodyPr/>
        <a:lstStyle/>
        <a:p>
          <a:endParaRPr lang="tr-TR"/>
        </a:p>
      </dgm:t>
    </dgm:pt>
    <dgm:pt modelId="{76684F15-6F2E-4B31-9BAB-B8C3A7DC22CB}" type="sibTrans" cxnId="{CA0F0068-37C3-4E1E-A3CB-5B4AA29B1A2C}">
      <dgm:prSet/>
      <dgm:spPr/>
      <dgm:t>
        <a:bodyPr/>
        <a:lstStyle/>
        <a:p>
          <a:endParaRPr lang="tr-TR"/>
        </a:p>
      </dgm:t>
    </dgm:pt>
    <dgm:pt modelId="{7CE93267-5351-4452-8657-D7624A8E66E2}">
      <dgm:prSet phldrT="[Metin]" custT="1"/>
      <dgm:spPr/>
      <dgm:t>
        <a:bodyPr/>
        <a:lstStyle/>
        <a:p>
          <a:r>
            <a:rPr lang="tr-TR" sz="1600" b="1" dirty="0" err="1" smtClean="0">
              <a:latin typeface="Calibri" panose="020F0502020204030204" pitchFamily="34" charset="0"/>
              <a:cs typeface="Calibri" panose="020F0502020204030204" pitchFamily="34" charset="0"/>
            </a:rPr>
            <a:t>Capacity</a:t>
          </a:r>
          <a:r>
            <a:rPr lang="tr-TR" sz="1600" b="1"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Building</a:t>
          </a:r>
          <a:r>
            <a:rPr lang="tr-TR" sz="1600" b="1" dirty="0" smtClean="0">
              <a:latin typeface="Calibri" panose="020F0502020204030204" pitchFamily="34" charset="0"/>
              <a:cs typeface="Calibri" panose="020F0502020204030204" pitchFamily="34" charset="0"/>
            </a:rPr>
            <a:t> &amp; </a:t>
          </a:r>
          <a:r>
            <a:rPr lang="tr-TR" sz="1600" b="1" dirty="0" err="1" smtClean="0">
              <a:latin typeface="Calibri" panose="020F0502020204030204" pitchFamily="34" charset="0"/>
              <a:cs typeface="Calibri" panose="020F0502020204030204" pitchFamily="34" charset="0"/>
            </a:rPr>
            <a:t>Early</a:t>
          </a:r>
          <a:r>
            <a:rPr lang="tr-TR" sz="1600" b="1"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Implementation</a:t>
          </a:r>
          <a:endParaRPr lang="tr-TR" sz="1600" b="1" dirty="0" smtClean="0">
            <a:latin typeface="Calibri" panose="020F0502020204030204" pitchFamily="34" charset="0"/>
            <a:cs typeface="Calibri" panose="020F0502020204030204" pitchFamily="34" charset="0"/>
          </a:endParaRPr>
        </a:p>
        <a:p>
          <a:r>
            <a:rPr lang="en-US" sz="1600" dirty="0" smtClean="0">
              <a:latin typeface="Calibri" panose="020F0502020204030204" pitchFamily="34" charset="0"/>
              <a:cs typeface="Calibri" panose="020F0502020204030204" pitchFamily="34" charset="0"/>
            </a:rPr>
            <a:t>Training of </a:t>
          </a:r>
          <a:r>
            <a:rPr lang="en-US" sz="1600" b="1" dirty="0" smtClean="0">
              <a:latin typeface="Calibri" panose="020F0502020204030204" pitchFamily="34" charset="0"/>
              <a:cs typeface="Calibri" panose="020F0502020204030204" pitchFamily="34" charset="0"/>
            </a:rPr>
            <a:t>national experts</a:t>
          </a:r>
          <a:r>
            <a:rPr lang="en-US" sz="1600" dirty="0" smtClean="0">
              <a:latin typeface="Calibri" panose="020F0502020204030204" pitchFamily="34" charset="0"/>
              <a:cs typeface="Calibri" panose="020F0502020204030204" pitchFamily="34" charset="0"/>
            </a:rPr>
            <a:t> on IPCC methodologies</a:t>
          </a:r>
        </a:p>
        <a:p>
          <a:r>
            <a:rPr lang="tr-TR" sz="1600" dirty="0" err="1" smtClean="0">
              <a:latin typeface="Calibri" panose="020F0502020204030204" pitchFamily="34" charset="0"/>
              <a:cs typeface="Calibri" panose="020F0502020204030204" pitchFamily="34" charset="0"/>
            </a:rPr>
            <a:t>Institutional</a:t>
          </a:r>
          <a:r>
            <a:rPr lang="tr-TR" sz="1600"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coordination</a:t>
          </a:r>
          <a:r>
            <a:rPr lang="tr-TR" sz="1600" b="1"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mechanisms</a:t>
          </a:r>
          <a:r>
            <a:rPr lang="tr-TR" sz="1600" dirty="0" smtClean="0">
              <a:latin typeface="Calibri" panose="020F0502020204030204" pitchFamily="34" charset="0"/>
              <a:cs typeface="Calibri" panose="020F0502020204030204" pitchFamily="34" charset="0"/>
            </a:rPr>
            <a:t> </a:t>
          </a:r>
          <a:r>
            <a:rPr lang="tr-TR" sz="1600" dirty="0" err="1" smtClean="0">
              <a:latin typeface="Calibri" panose="020F0502020204030204" pitchFamily="34" charset="0"/>
              <a:cs typeface="Calibri" panose="020F0502020204030204" pitchFamily="34" charset="0"/>
            </a:rPr>
            <a:t>established</a:t>
          </a:r>
          <a:endParaRPr lang="tr-TR" sz="1600" dirty="0" smtClean="0">
            <a:latin typeface="Calibri" panose="020F0502020204030204" pitchFamily="34" charset="0"/>
            <a:cs typeface="Calibri" panose="020F0502020204030204" pitchFamily="34" charset="0"/>
          </a:endParaRPr>
        </a:p>
      </dgm:t>
    </dgm:pt>
    <dgm:pt modelId="{8867D939-416A-46AE-A417-A0B3B4F8601C}" type="parTrans" cxnId="{DE977308-0E30-49D6-87D9-D0E9E0E157F3}">
      <dgm:prSet/>
      <dgm:spPr/>
      <dgm:t>
        <a:bodyPr/>
        <a:lstStyle/>
        <a:p>
          <a:endParaRPr lang="tr-TR"/>
        </a:p>
      </dgm:t>
    </dgm:pt>
    <dgm:pt modelId="{356F27B7-AB86-4464-BF99-ABE2ADEA5E1B}" type="sibTrans" cxnId="{DE977308-0E30-49D6-87D9-D0E9E0E157F3}">
      <dgm:prSet/>
      <dgm:spPr/>
      <dgm:t>
        <a:bodyPr/>
        <a:lstStyle/>
        <a:p>
          <a:endParaRPr lang="tr-TR"/>
        </a:p>
      </dgm:t>
    </dgm:pt>
    <dgm:pt modelId="{9AA04EB3-EF1F-49A9-9791-92FC63A2910E}">
      <dgm:prSet phldrT="[Metin]" custT="1"/>
      <dgm:spPr/>
      <dgm:t>
        <a:bodyPr/>
        <a:lstStyle/>
        <a:p>
          <a:r>
            <a:rPr lang="tr-TR" sz="1600" b="1" dirty="0" smtClean="0">
              <a:latin typeface="Calibri" panose="020F0502020204030204" pitchFamily="34" charset="0"/>
              <a:cs typeface="Calibri" panose="020F0502020204030204" pitchFamily="34" charset="0"/>
            </a:rPr>
            <a:t>Full </a:t>
          </a:r>
          <a:r>
            <a:rPr lang="tr-TR" sz="1600" b="1" dirty="0" err="1" smtClean="0">
              <a:latin typeface="Calibri" panose="020F0502020204030204" pitchFamily="34" charset="0"/>
              <a:cs typeface="Calibri" panose="020F0502020204030204" pitchFamily="34" charset="0"/>
            </a:rPr>
            <a:t>Implementation</a:t>
          </a:r>
          <a:r>
            <a:rPr lang="tr-TR" sz="1600" b="1" dirty="0" smtClean="0">
              <a:latin typeface="Calibri" panose="020F0502020204030204" pitchFamily="34" charset="0"/>
              <a:cs typeface="Calibri" panose="020F0502020204030204" pitchFamily="34" charset="0"/>
            </a:rPr>
            <a:t> &amp; </a:t>
          </a:r>
          <a:r>
            <a:rPr lang="tr-TR" sz="1600" b="1" dirty="0" err="1" smtClean="0">
              <a:latin typeface="Calibri" panose="020F0502020204030204" pitchFamily="34" charset="0"/>
              <a:cs typeface="Calibri" panose="020F0502020204030204" pitchFamily="34" charset="0"/>
            </a:rPr>
            <a:t>Long-Term</a:t>
          </a:r>
          <a:r>
            <a:rPr lang="tr-TR" sz="1600" b="1"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Impact</a:t>
          </a:r>
          <a:endParaRPr lang="tr-TR" sz="1600" b="1" dirty="0" smtClean="0">
            <a:latin typeface="Calibri" panose="020F0502020204030204" pitchFamily="34" charset="0"/>
            <a:cs typeface="Calibri" panose="020F0502020204030204" pitchFamily="34" charset="0"/>
          </a:endParaRPr>
        </a:p>
        <a:p>
          <a:r>
            <a:rPr lang="en-US" sz="1600" dirty="0" smtClean="0">
              <a:latin typeface="Calibri" panose="020F0502020204030204" pitchFamily="34" charset="0"/>
              <a:cs typeface="Calibri" panose="020F0502020204030204" pitchFamily="34" charset="0"/>
            </a:rPr>
            <a:t>Sustained capacity building for institutions and experts</a:t>
          </a:r>
        </a:p>
        <a:p>
          <a:r>
            <a:rPr lang="en-US" sz="1600" dirty="0" smtClean="0">
              <a:latin typeface="Calibri" panose="020F0502020204030204" pitchFamily="34" charset="0"/>
              <a:cs typeface="Calibri" panose="020F0502020204030204" pitchFamily="34" charset="0"/>
            </a:rPr>
            <a:t>Strengthened </a:t>
          </a:r>
          <a:r>
            <a:rPr lang="en-US" sz="1600" b="1" dirty="0" smtClean="0">
              <a:latin typeface="Calibri" panose="020F0502020204030204" pitchFamily="34" charset="0"/>
              <a:cs typeface="Calibri" panose="020F0502020204030204" pitchFamily="34" charset="0"/>
            </a:rPr>
            <a:t>AFOLU reporting tools</a:t>
          </a:r>
          <a:r>
            <a:rPr lang="en-US" sz="1600" dirty="0" smtClean="0">
              <a:latin typeface="Calibri" panose="020F0502020204030204" pitchFamily="34" charset="0"/>
              <a:cs typeface="Calibri" panose="020F0502020204030204" pitchFamily="34" charset="0"/>
            </a:rPr>
            <a:t> and policy frameworks</a:t>
          </a:r>
        </a:p>
        <a:p>
          <a:r>
            <a:rPr lang="tr-TR" sz="1600" dirty="0" err="1" smtClean="0">
              <a:latin typeface="Calibri" panose="020F0502020204030204" pitchFamily="34" charset="0"/>
              <a:cs typeface="Calibri" panose="020F0502020204030204" pitchFamily="34" charset="0"/>
            </a:rPr>
            <a:t>Continuous</a:t>
          </a:r>
          <a:r>
            <a:rPr lang="tr-TR" sz="1600" dirty="0" smtClean="0">
              <a:latin typeface="Calibri" panose="020F0502020204030204" pitchFamily="34" charset="0"/>
              <a:cs typeface="Calibri" panose="020F0502020204030204" pitchFamily="34" charset="0"/>
            </a:rPr>
            <a:t> </a:t>
          </a:r>
          <a:r>
            <a:rPr lang="tr-TR" sz="1600" dirty="0" err="1" smtClean="0">
              <a:latin typeface="Calibri" panose="020F0502020204030204" pitchFamily="34" charset="0"/>
              <a:cs typeface="Calibri" panose="020F0502020204030204" pitchFamily="34" charset="0"/>
            </a:rPr>
            <a:t>support</a:t>
          </a:r>
          <a:r>
            <a:rPr lang="tr-TR" sz="1600" dirty="0" smtClean="0">
              <a:latin typeface="Calibri" panose="020F0502020204030204" pitchFamily="34" charset="0"/>
              <a:cs typeface="Calibri" panose="020F0502020204030204" pitchFamily="34" charset="0"/>
            </a:rPr>
            <a:t> </a:t>
          </a:r>
          <a:r>
            <a:rPr lang="tr-TR" sz="1600" dirty="0" err="1" smtClean="0">
              <a:latin typeface="Calibri" panose="020F0502020204030204" pitchFamily="34" charset="0"/>
              <a:cs typeface="Calibri" panose="020F0502020204030204" pitchFamily="34" charset="0"/>
            </a:rPr>
            <a:t>to</a:t>
          </a:r>
          <a:r>
            <a:rPr lang="tr-TR" sz="1600" dirty="0" smtClean="0">
              <a:latin typeface="Calibri" panose="020F0502020204030204" pitchFamily="34" charset="0"/>
              <a:cs typeface="Calibri" panose="020F0502020204030204" pitchFamily="34" charset="0"/>
            </a:rPr>
            <a:t> </a:t>
          </a:r>
          <a:r>
            <a:rPr lang="tr-TR" sz="1600" b="1" dirty="0" smtClean="0">
              <a:latin typeface="Calibri" panose="020F0502020204030204" pitchFamily="34" charset="0"/>
              <a:cs typeface="Calibri" panose="020F0502020204030204" pitchFamily="34" charset="0"/>
            </a:rPr>
            <a:t>2nd NDC </a:t>
          </a:r>
          <a:r>
            <a:rPr lang="tr-TR" sz="1600" b="1" dirty="0" err="1" smtClean="0">
              <a:latin typeface="Calibri" panose="020F0502020204030204" pitchFamily="34" charset="0"/>
              <a:cs typeface="Calibri" panose="020F0502020204030204" pitchFamily="34" charset="0"/>
            </a:rPr>
            <a:t>implementation</a:t>
          </a:r>
          <a:r>
            <a:rPr lang="tr-TR" sz="1600" b="1" dirty="0" smtClean="0">
              <a:latin typeface="Calibri" panose="020F0502020204030204" pitchFamily="34" charset="0"/>
              <a:cs typeface="Calibri" panose="020F0502020204030204" pitchFamily="34" charset="0"/>
            </a:rPr>
            <a:t> </a:t>
          </a:r>
          <a:r>
            <a:rPr lang="tr-TR" sz="1600" b="0" dirty="0" err="1" smtClean="0">
              <a:latin typeface="Calibri" panose="020F0502020204030204" pitchFamily="34" charset="0"/>
              <a:cs typeface="Calibri" panose="020F0502020204030204" pitchFamily="34" charset="0"/>
            </a:rPr>
            <a:t>and</a:t>
          </a:r>
          <a:r>
            <a:rPr lang="tr-TR" sz="1600" b="0" dirty="0" smtClean="0">
              <a:latin typeface="Calibri" panose="020F0502020204030204" pitchFamily="34" charset="0"/>
              <a:cs typeface="Calibri" panose="020F0502020204030204" pitchFamily="34" charset="0"/>
            </a:rPr>
            <a:t> </a:t>
          </a:r>
          <a:r>
            <a:rPr lang="tr-TR" sz="1600" dirty="0" smtClean="0">
              <a:latin typeface="Calibri" panose="020F0502020204030204" pitchFamily="34" charset="0"/>
              <a:cs typeface="Calibri" panose="020F0502020204030204" pitchFamily="34" charset="0"/>
            </a:rPr>
            <a:t>BTR </a:t>
          </a:r>
          <a:r>
            <a:rPr lang="tr-TR" sz="1600" dirty="0" err="1" smtClean="0">
              <a:latin typeface="Calibri" panose="020F0502020204030204" pitchFamily="34" charset="0"/>
              <a:cs typeface="Calibri" panose="020F0502020204030204" pitchFamily="34" charset="0"/>
            </a:rPr>
            <a:t>submissions</a:t>
          </a:r>
          <a:endParaRPr lang="tr-TR" sz="1600" dirty="0">
            <a:latin typeface="Calibri" panose="020F0502020204030204" pitchFamily="34" charset="0"/>
            <a:cs typeface="Calibri" panose="020F0502020204030204" pitchFamily="34" charset="0"/>
          </a:endParaRPr>
        </a:p>
      </dgm:t>
    </dgm:pt>
    <dgm:pt modelId="{6F8CE5F5-61AD-42BA-95B7-03146C7F0C2B}" type="parTrans" cxnId="{1700F204-75A0-46FD-8CD8-93C7FF1D883E}">
      <dgm:prSet/>
      <dgm:spPr/>
      <dgm:t>
        <a:bodyPr/>
        <a:lstStyle/>
        <a:p>
          <a:endParaRPr lang="tr-TR"/>
        </a:p>
      </dgm:t>
    </dgm:pt>
    <dgm:pt modelId="{787D3A2B-6F13-4748-8BC4-798D16A2E9AF}" type="sibTrans" cxnId="{1700F204-75A0-46FD-8CD8-93C7FF1D883E}">
      <dgm:prSet/>
      <dgm:spPr/>
      <dgm:t>
        <a:bodyPr/>
        <a:lstStyle/>
        <a:p>
          <a:endParaRPr lang="tr-TR"/>
        </a:p>
      </dgm:t>
    </dgm:pt>
    <dgm:pt modelId="{326E9C25-CB9D-4254-9BBF-75353B64BAFD}">
      <dgm:prSet custT="1"/>
      <dgm:spPr/>
      <dgm:t>
        <a:bodyPr/>
        <a:lstStyle/>
        <a:p>
          <a:r>
            <a:rPr lang="en-US" sz="1600" b="1" dirty="0" smtClean="0">
              <a:latin typeface="Calibri" panose="020F0502020204030204" pitchFamily="34" charset="0"/>
              <a:cs typeface="Calibri" panose="020F0502020204030204" pitchFamily="34" charset="0"/>
            </a:rPr>
            <a:t> </a:t>
          </a:r>
          <a:endParaRPr lang="tr-TR" sz="1600" b="1" dirty="0" smtClean="0">
            <a:latin typeface="Calibri" panose="020F0502020204030204" pitchFamily="34" charset="0"/>
            <a:cs typeface="Calibri" panose="020F0502020204030204" pitchFamily="34" charset="0"/>
          </a:endParaRPr>
        </a:p>
        <a:p>
          <a:r>
            <a:rPr lang="tr-TR" sz="1600" b="1" dirty="0" smtClean="0">
              <a:latin typeface="Calibri" panose="020F0502020204030204" pitchFamily="34" charset="0"/>
              <a:cs typeface="Calibri" panose="020F0502020204030204" pitchFamily="34" charset="0"/>
            </a:rPr>
            <a:t>Net Zero </a:t>
          </a:r>
          <a:r>
            <a:rPr lang="tr-TR" sz="1600" b="1" dirty="0" err="1" smtClean="0">
              <a:latin typeface="Calibri" panose="020F0502020204030204" pitchFamily="34" charset="0"/>
              <a:cs typeface="Calibri" panose="020F0502020204030204" pitchFamily="34" charset="0"/>
            </a:rPr>
            <a:t>Target</a:t>
          </a:r>
          <a:endParaRPr lang="tr-TR" sz="1600" b="1" dirty="0" smtClean="0">
            <a:latin typeface="Calibri" panose="020F0502020204030204" pitchFamily="34" charset="0"/>
            <a:cs typeface="Calibri" panose="020F0502020204030204" pitchFamily="34" charset="0"/>
          </a:endParaRPr>
        </a:p>
        <a:p>
          <a:r>
            <a:rPr lang="en-US" sz="1600" dirty="0" smtClean="0">
              <a:latin typeface="Calibri" panose="020F0502020204030204" pitchFamily="34" charset="0"/>
              <a:cs typeface="Calibri" panose="020F0502020204030204" pitchFamily="34" charset="0"/>
            </a:rPr>
            <a:t>Alignment with Türkiye’s Net-Zero Target </a:t>
          </a:r>
          <a:endParaRPr lang="tr-TR" sz="1600" dirty="0" smtClean="0">
            <a:latin typeface="Calibri" panose="020F0502020204030204" pitchFamily="34" charset="0"/>
            <a:cs typeface="Calibri" panose="020F0502020204030204" pitchFamily="34" charset="0"/>
          </a:endParaRPr>
        </a:p>
        <a:p>
          <a:r>
            <a:rPr lang="en-US" sz="1600" dirty="0" smtClean="0">
              <a:latin typeface="Calibri" panose="020F0502020204030204" pitchFamily="34" charset="0"/>
              <a:cs typeface="Calibri" panose="020F0502020204030204" pitchFamily="34" charset="0"/>
            </a:rPr>
            <a:t>Long-term use of project outputs: </a:t>
          </a:r>
          <a:r>
            <a:rPr lang="en-US" sz="1600" b="1" dirty="0" smtClean="0">
              <a:latin typeface="Calibri" panose="020F0502020204030204" pitchFamily="34" charset="0"/>
              <a:cs typeface="Calibri" panose="020F0502020204030204" pitchFamily="34" charset="0"/>
            </a:rPr>
            <a:t>expert pool, institutional knowledge, robust policies</a:t>
          </a:r>
          <a:endParaRPr lang="tr-TR" sz="1600" b="1" dirty="0">
            <a:latin typeface="Calibri" panose="020F0502020204030204" pitchFamily="34" charset="0"/>
            <a:cs typeface="Calibri" panose="020F0502020204030204" pitchFamily="34" charset="0"/>
          </a:endParaRPr>
        </a:p>
      </dgm:t>
    </dgm:pt>
    <dgm:pt modelId="{FB74D192-92D6-48FD-93A4-B4F900E30652}" type="parTrans" cxnId="{6EFD9870-43D0-4FDD-A18D-365230A0C5A0}">
      <dgm:prSet/>
      <dgm:spPr/>
      <dgm:t>
        <a:bodyPr/>
        <a:lstStyle/>
        <a:p>
          <a:endParaRPr lang="tr-TR"/>
        </a:p>
      </dgm:t>
    </dgm:pt>
    <dgm:pt modelId="{25057570-CFC6-4EAD-9F3F-E93180AB1C14}" type="sibTrans" cxnId="{6EFD9870-43D0-4FDD-A18D-365230A0C5A0}">
      <dgm:prSet/>
      <dgm:spPr/>
      <dgm:t>
        <a:bodyPr/>
        <a:lstStyle/>
        <a:p>
          <a:endParaRPr lang="tr-TR"/>
        </a:p>
      </dgm:t>
    </dgm:pt>
    <dgm:pt modelId="{CE5F76D8-81CC-44F0-A60C-377C429CC22B}" type="pres">
      <dgm:prSet presAssocID="{7AAF309F-F5A7-40EB-96B7-B2E48D8939D8}" presName="Name0" presStyleCnt="0">
        <dgm:presLayoutVars>
          <dgm:chMax val="7"/>
          <dgm:chPref val="7"/>
          <dgm:dir/>
          <dgm:animOne val="branch"/>
          <dgm:animLvl val="lvl"/>
        </dgm:presLayoutVars>
      </dgm:prSet>
      <dgm:spPr/>
    </dgm:pt>
    <dgm:pt modelId="{B849B1AC-9983-4683-8124-8468B7141CAD}" type="pres">
      <dgm:prSet presAssocID="{76752D97-5CEE-4515-BCC0-D88E3B51E758}" presName="composite" presStyleCnt="0"/>
      <dgm:spPr/>
    </dgm:pt>
    <dgm:pt modelId="{83599041-C1C8-4A4E-991D-5EAE3DEB0D6C}" type="pres">
      <dgm:prSet presAssocID="{76752D97-5CEE-4515-BCC0-D88E3B51E758}" presName="BackAccent" presStyleLbl="bgShp" presStyleIdx="0" presStyleCnt="5" custLinFactNeighborX="-921" custLinFactNeighborY="-1127"/>
      <dgm:spPr/>
    </dgm:pt>
    <dgm:pt modelId="{B8963F0E-D2CF-4B80-9D77-8402DEF80E0F}" type="pres">
      <dgm:prSet presAssocID="{76752D97-5CEE-4515-BCC0-D88E3B51E758}" presName="Accent" presStyleLbl="alignNode1" presStyleIdx="0" presStyleCnt="5"/>
      <dgm:spPr/>
    </dgm:pt>
    <dgm:pt modelId="{7516D736-A4E8-4805-9EE5-13D4DD60B5F2}" type="pres">
      <dgm:prSet presAssocID="{76752D97-5CEE-4515-BCC0-D88E3B51E758}" presName="Child" presStyleLbl="revTx" presStyleIdx="0" presStyleCnt="5">
        <dgm:presLayoutVars>
          <dgm:chMax val="0"/>
          <dgm:chPref val="0"/>
          <dgm:bulletEnabled val="1"/>
        </dgm:presLayoutVars>
      </dgm:prSet>
      <dgm:spPr/>
    </dgm:pt>
    <dgm:pt modelId="{7F91505B-F7E8-4AAB-933F-FF0EF4BBAB6E}" type="pres">
      <dgm:prSet presAssocID="{76752D97-5CEE-4515-BCC0-D88E3B51E758}" presName="Parent" presStyleLbl="revTx" presStyleIdx="0" presStyleCnt="5">
        <dgm:presLayoutVars>
          <dgm:chMax val="1"/>
          <dgm:chPref val="1"/>
          <dgm:bulletEnabled val="1"/>
        </dgm:presLayoutVars>
      </dgm:prSet>
      <dgm:spPr/>
      <dgm:t>
        <a:bodyPr/>
        <a:lstStyle/>
        <a:p>
          <a:endParaRPr lang="tr-TR"/>
        </a:p>
      </dgm:t>
    </dgm:pt>
    <dgm:pt modelId="{9CB5F45B-5D4E-4CEB-80E8-03494EFE7752}" type="pres">
      <dgm:prSet presAssocID="{FBEB8A94-80F0-47D6-9C5D-B648220F4EA0}" presName="sibTrans" presStyleCnt="0"/>
      <dgm:spPr/>
    </dgm:pt>
    <dgm:pt modelId="{EE49ABE2-514D-430B-BD1F-AE9566D9C38F}" type="pres">
      <dgm:prSet presAssocID="{7D48174B-0ED1-4776-99BF-863143D39531}" presName="composite" presStyleCnt="0"/>
      <dgm:spPr/>
    </dgm:pt>
    <dgm:pt modelId="{BEA4255B-2CDC-4137-99A0-EC3DDA031E9F}" type="pres">
      <dgm:prSet presAssocID="{7D48174B-0ED1-4776-99BF-863143D39531}" presName="BackAccent" presStyleLbl="bgShp" presStyleIdx="1" presStyleCnt="5"/>
      <dgm:spPr/>
    </dgm:pt>
    <dgm:pt modelId="{0C243966-3268-4B4A-966E-9E3CB126FBEB}" type="pres">
      <dgm:prSet presAssocID="{7D48174B-0ED1-4776-99BF-863143D39531}" presName="Accent" presStyleLbl="alignNode1" presStyleIdx="1" presStyleCnt="5"/>
      <dgm:spPr/>
    </dgm:pt>
    <dgm:pt modelId="{51085A92-DC49-4A8F-B080-2741FB8957F7}" type="pres">
      <dgm:prSet presAssocID="{7D48174B-0ED1-4776-99BF-863143D39531}" presName="Child" presStyleLbl="revTx" presStyleIdx="0" presStyleCnt="5">
        <dgm:presLayoutVars>
          <dgm:chMax val="0"/>
          <dgm:chPref val="0"/>
          <dgm:bulletEnabled val="1"/>
        </dgm:presLayoutVars>
      </dgm:prSet>
      <dgm:spPr/>
    </dgm:pt>
    <dgm:pt modelId="{9622DB0E-75A0-4BD2-8540-11AC41754545}" type="pres">
      <dgm:prSet presAssocID="{7D48174B-0ED1-4776-99BF-863143D39531}" presName="Parent" presStyleLbl="revTx" presStyleIdx="1" presStyleCnt="5">
        <dgm:presLayoutVars>
          <dgm:chMax val="1"/>
          <dgm:chPref val="1"/>
          <dgm:bulletEnabled val="1"/>
        </dgm:presLayoutVars>
      </dgm:prSet>
      <dgm:spPr/>
      <dgm:t>
        <a:bodyPr/>
        <a:lstStyle/>
        <a:p>
          <a:endParaRPr lang="tr-TR"/>
        </a:p>
      </dgm:t>
    </dgm:pt>
    <dgm:pt modelId="{CBB9E31A-C7B2-4BB0-B4E0-A1541A727458}" type="pres">
      <dgm:prSet presAssocID="{76684F15-6F2E-4B31-9BAB-B8C3A7DC22CB}" presName="sibTrans" presStyleCnt="0"/>
      <dgm:spPr/>
    </dgm:pt>
    <dgm:pt modelId="{B4D97C9C-0BD0-4975-854F-64C205F3BBD0}" type="pres">
      <dgm:prSet presAssocID="{7CE93267-5351-4452-8657-D7624A8E66E2}" presName="composite" presStyleCnt="0"/>
      <dgm:spPr/>
    </dgm:pt>
    <dgm:pt modelId="{538DFBDD-36BD-41BF-A7E7-26A870525A3F}" type="pres">
      <dgm:prSet presAssocID="{7CE93267-5351-4452-8657-D7624A8E66E2}" presName="BackAccent" presStyleLbl="bgShp" presStyleIdx="2" presStyleCnt="5"/>
      <dgm:spPr/>
    </dgm:pt>
    <dgm:pt modelId="{BC2F1E63-DAEB-495D-A2F8-BCF0679E9E90}" type="pres">
      <dgm:prSet presAssocID="{7CE93267-5351-4452-8657-D7624A8E66E2}" presName="Accent" presStyleLbl="alignNode1" presStyleIdx="2" presStyleCnt="5"/>
      <dgm:spPr/>
    </dgm:pt>
    <dgm:pt modelId="{ED8D212F-3981-4DF5-B79B-D4328D035650}" type="pres">
      <dgm:prSet presAssocID="{7CE93267-5351-4452-8657-D7624A8E66E2}" presName="Child" presStyleLbl="revTx" presStyleIdx="1" presStyleCnt="5">
        <dgm:presLayoutVars>
          <dgm:chMax val="0"/>
          <dgm:chPref val="0"/>
          <dgm:bulletEnabled val="1"/>
        </dgm:presLayoutVars>
      </dgm:prSet>
      <dgm:spPr/>
    </dgm:pt>
    <dgm:pt modelId="{7206B366-0D84-402D-B756-C8F8E3859B2F}" type="pres">
      <dgm:prSet presAssocID="{7CE93267-5351-4452-8657-D7624A8E66E2}" presName="Parent" presStyleLbl="revTx" presStyleIdx="2" presStyleCnt="5">
        <dgm:presLayoutVars>
          <dgm:chMax val="1"/>
          <dgm:chPref val="1"/>
          <dgm:bulletEnabled val="1"/>
        </dgm:presLayoutVars>
      </dgm:prSet>
      <dgm:spPr/>
      <dgm:t>
        <a:bodyPr/>
        <a:lstStyle/>
        <a:p>
          <a:endParaRPr lang="tr-TR"/>
        </a:p>
      </dgm:t>
    </dgm:pt>
    <dgm:pt modelId="{BE80A9B5-10DF-4110-983D-49FB1811B037}" type="pres">
      <dgm:prSet presAssocID="{356F27B7-AB86-4464-BF99-ABE2ADEA5E1B}" presName="sibTrans" presStyleCnt="0"/>
      <dgm:spPr/>
    </dgm:pt>
    <dgm:pt modelId="{FFCC6396-5107-4090-AFEC-5B7BF3640205}" type="pres">
      <dgm:prSet presAssocID="{9AA04EB3-EF1F-49A9-9791-92FC63A2910E}" presName="composite" presStyleCnt="0"/>
      <dgm:spPr/>
    </dgm:pt>
    <dgm:pt modelId="{B25A50DC-3764-4BE3-9F8A-F95901EAC0C4}" type="pres">
      <dgm:prSet presAssocID="{9AA04EB3-EF1F-49A9-9791-92FC63A2910E}" presName="BackAccent" presStyleLbl="bgShp" presStyleIdx="3" presStyleCnt="5"/>
      <dgm:spPr/>
    </dgm:pt>
    <dgm:pt modelId="{16719827-A407-4540-BBF6-0AC6F38F085D}" type="pres">
      <dgm:prSet presAssocID="{9AA04EB3-EF1F-49A9-9791-92FC63A2910E}" presName="Accent" presStyleLbl="alignNode1" presStyleIdx="3" presStyleCnt="5"/>
      <dgm:spPr/>
    </dgm:pt>
    <dgm:pt modelId="{C37CC030-2D7B-408E-8EE1-AB65E3FB32DF}" type="pres">
      <dgm:prSet presAssocID="{9AA04EB3-EF1F-49A9-9791-92FC63A2910E}" presName="Child" presStyleLbl="revTx" presStyleIdx="2" presStyleCnt="5">
        <dgm:presLayoutVars>
          <dgm:chMax val="0"/>
          <dgm:chPref val="0"/>
          <dgm:bulletEnabled val="1"/>
        </dgm:presLayoutVars>
      </dgm:prSet>
      <dgm:spPr/>
    </dgm:pt>
    <dgm:pt modelId="{F456962F-9A96-4E1D-8DC0-046EBB4644D8}" type="pres">
      <dgm:prSet presAssocID="{9AA04EB3-EF1F-49A9-9791-92FC63A2910E}" presName="Parent" presStyleLbl="revTx" presStyleIdx="3" presStyleCnt="5">
        <dgm:presLayoutVars>
          <dgm:chMax val="1"/>
          <dgm:chPref val="1"/>
          <dgm:bulletEnabled val="1"/>
        </dgm:presLayoutVars>
      </dgm:prSet>
      <dgm:spPr/>
      <dgm:t>
        <a:bodyPr/>
        <a:lstStyle/>
        <a:p>
          <a:endParaRPr lang="tr-TR"/>
        </a:p>
      </dgm:t>
    </dgm:pt>
    <dgm:pt modelId="{DB4678F0-771F-417F-94D5-718AA6769692}" type="pres">
      <dgm:prSet presAssocID="{787D3A2B-6F13-4748-8BC4-798D16A2E9AF}" presName="sibTrans" presStyleCnt="0"/>
      <dgm:spPr/>
    </dgm:pt>
    <dgm:pt modelId="{89E6BDDB-CA15-42D3-AD57-7ACA77BE21D9}" type="pres">
      <dgm:prSet presAssocID="{326E9C25-CB9D-4254-9BBF-75353B64BAFD}" presName="composite" presStyleCnt="0"/>
      <dgm:spPr/>
    </dgm:pt>
    <dgm:pt modelId="{847B07B2-1463-4A4C-A9D9-02294358E3F2}" type="pres">
      <dgm:prSet presAssocID="{326E9C25-CB9D-4254-9BBF-75353B64BAFD}" presName="BackAccent" presStyleLbl="bgShp" presStyleIdx="4" presStyleCnt="5"/>
      <dgm:spPr/>
    </dgm:pt>
    <dgm:pt modelId="{AE105AA3-D274-4A2C-AD07-0B2FED997FEC}" type="pres">
      <dgm:prSet presAssocID="{326E9C25-CB9D-4254-9BBF-75353B64BAFD}" presName="Accent" presStyleLbl="alignNode1" presStyleIdx="4" presStyleCnt="5"/>
      <dgm:spPr/>
    </dgm:pt>
    <dgm:pt modelId="{338BAFF8-7EC6-438B-AAA3-D0DC326C23F9}" type="pres">
      <dgm:prSet presAssocID="{326E9C25-CB9D-4254-9BBF-75353B64BAFD}" presName="Child" presStyleLbl="revTx" presStyleIdx="3" presStyleCnt="5">
        <dgm:presLayoutVars>
          <dgm:chMax val="0"/>
          <dgm:chPref val="0"/>
          <dgm:bulletEnabled val="1"/>
        </dgm:presLayoutVars>
      </dgm:prSet>
      <dgm:spPr/>
    </dgm:pt>
    <dgm:pt modelId="{5CC839DB-9D3B-4DCF-997A-30283D120095}" type="pres">
      <dgm:prSet presAssocID="{326E9C25-CB9D-4254-9BBF-75353B64BAFD}" presName="Parent" presStyleLbl="revTx" presStyleIdx="4" presStyleCnt="5">
        <dgm:presLayoutVars>
          <dgm:chMax val="1"/>
          <dgm:chPref val="1"/>
          <dgm:bulletEnabled val="1"/>
        </dgm:presLayoutVars>
      </dgm:prSet>
      <dgm:spPr/>
      <dgm:t>
        <a:bodyPr/>
        <a:lstStyle/>
        <a:p>
          <a:endParaRPr lang="tr-TR"/>
        </a:p>
      </dgm:t>
    </dgm:pt>
  </dgm:ptLst>
  <dgm:cxnLst>
    <dgm:cxn modelId="{60FD7C5B-633D-49F5-8D7B-DC2393CB2522}" srcId="{7AAF309F-F5A7-40EB-96B7-B2E48D8939D8}" destId="{76752D97-5CEE-4515-BCC0-D88E3B51E758}" srcOrd="0" destOrd="0" parTransId="{05091DD0-8430-4AB9-BF6E-8D23215315AD}" sibTransId="{FBEB8A94-80F0-47D6-9C5D-B648220F4EA0}"/>
    <dgm:cxn modelId="{36C28289-AEC5-4F0D-94BE-12DA10D546F2}" type="presOf" srcId="{7D48174B-0ED1-4776-99BF-863143D39531}" destId="{9622DB0E-75A0-4BD2-8540-11AC41754545}" srcOrd="0" destOrd="0" presId="urn:microsoft.com/office/officeart/2008/layout/IncreasingCircleProcess"/>
    <dgm:cxn modelId="{CA0F0068-37C3-4E1E-A3CB-5B4AA29B1A2C}" srcId="{7AAF309F-F5A7-40EB-96B7-B2E48D8939D8}" destId="{7D48174B-0ED1-4776-99BF-863143D39531}" srcOrd="1" destOrd="0" parTransId="{BD983856-F891-486B-BA4F-3F292DF2C976}" sibTransId="{76684F15-6F2E-4B31-9BAB-B8C3A7DC22CB}"/>
    <dgm:cxn modelId="{2408D485-DD68-4B28-8EE6-40AFF40AD74F}" type="presOf" srcId="{7AAF309F-F5A7-40EB-96B7-B2E48D8939D8}" destId="{CE5F76D8-81CC-44F0-A60C-377C429CC22B}" srcOrd="0" destOrd="0" presId="urn:microsoft.com/office/officeart/2008/layout/IncreasingCircleProcess"/>
    <dgm:cxn modelId="{1700F204-75A0-46FD-8CD8-93C7FF1D883E}" srcId="{7AAF309F-F5A7-40EB-96B7-B2E48D8939D8}" destId="{9AA04EB3-EF1F-49A9-9791-92FC63A2910E}" srcOrd="3" destOrd="0" parTransId="{6F8CE5F5-61AD-42BA-95B7-03146C7F0C2B}" sibTransId="{787D3A2B-6F13-4748-8BC4-798D16A2E9AF}"/>
    <dgm:cxn modelId="{DE977308-0E30-49D6-87D9-D0E9E0E157F3}" srcId="{7AAF309F-F5A7-40EB-96B7-B2E48D8939D8}" destId="{7CE93267-5351-4452-8657-D7624A8E66E2}" srcOrd="2" destOrd="0" parTransId="{8867D939-416A-46AE-A417-A0B3B4F8601C}" sibTransId="{356F27B7-AB86-4464-BF99-ABE2ADEA5E1B}"/>
    <dgm:cxn modelId="{6EFD9870-43D0-4FDD-A18D-365230A0C5A0}" srcId="{7AAF309F-F5A7-40EB-96B7-B2E48D8939D8}" destId="{326E9C25-CB9D-4254-9BBF-75353B64BAFD}" srcOrd="4" destOrd="0" parTransId="{FB74D192-92D6-48FD-93A4-B4F900E30652}" sibTransId="{25057570-CFC6-4EAD-9F3F-E93180AB1C14}"/>
    <dgm:cxn modelId="{502A2A19-4A67-41C4-B764-6FD587E6B2AB}" type="presOf" srcId="{7CE93267-5351-4452-8657-D7624A8E66E2}" destId="{7206B366-0D84-402D-B756-C8F8E3859B2F}" srcOrd="0" destOrd="0" presId="urn:microsoft.com/office/officeart/2008/layout/IncreasingCircleProcess"/>
    <dgm:cxn modelId="{AF093A2E-F863-40EC-B253-9FA50ECCE014}" type="presOf" srcId="{326E9C25-CB9D-4254-9BBF-75353B64BAFD}" destId="{5CC839DB-9D3B-4DCF-997A-30283D120095}" srcOrd="0" destOrd="0" presId="urn:microsoft.com/office/officeart/2008/layout/IncreasingCircleProcess"/>
    <dgm:cxn modelId="{5C100CDB-37FC-4A2B-8DD8-3F4E7EADF885}" type="presOf" srcId="{9AA04EB3-EF1F-49A9-9791-92FC63A2910E}" destId="{F456962F-9A96-4E1D-8DC0-046EBB4644D8}" srcOrd="0" destOrd="0" presId="urn:microsoft.com/office/officeart/2008/layout/IncreasingCircleProcess"/>
    <dgm:cxn modelId="{DFB17A9E-5E80-4908-A1B3-A9F902B562F8}" type="presOf" srcId="{76752D97-5CEE-4515-BCC0-D88E3B51E758}" destId="{7F91505B-F7E8-4AAB-933F-FF0EF4BBAB6E}" srcOrd="0" destOrd="0" presId="urn:microsoft.com/office/officeart/2008/layout/IncreasingCircleProcess"/>
    <dgm:cxn modelId="{646DE041-5A37-40DD-B8CE-61198FC30B60}" type="presParOf" srcId="{CE5F76D8-81CC-44F0-A60C-377C429CC22B}" destId="{B849B1AC-9983-4683-8124-8468B7141CAD}" srcOrd="0" destOrd="0" presId="urn:microsoft.com/office/officeart/2008/layout/IncreasingCircleProcess"/>
    <dgm:cxn modelId="{5BC015D1-3124-4C6B-8FCD-D7EF944EECBF}" type="presParOf" srcId="{B849B1AC-9983-4683-8124-8468B7141CAD}" destId="{83599041-C1C8-4A4E-991D-5EAE3DEB0D6C}" srcOrd="0" destOrd="0" presId="urn:microsoft.com/office/officeart/2008/layout/IncreasingCircleProcess"/>
    <dgm:cxn modelId="{1379DB45-F6EC-4495-9D14-E607A3AA3C8A}" type="presParOf" srcId="{B849B1AC-9983-4683-8124-8468B7141CAD}" destId="{B8963F0E-D2CF-4B80-9D77-8402DEF80E0F}" srcOrd="1" destOrd="0" presId="urn:microsoft.com/office/officeart/2008/layout/IncreasingCircleProcess"/>
    <dgm:cxn modelId="{3DD3C682-9F6D-4C26-A826-50D8AE915644}" type="presParOf" srcId="{B849B1AC-9983-4683-8124-8468B7141CAD}" destId="{7516D736-A4E8-4805-9EE5-13D4DD60B5F2}" srcOrd="2" destOrd="0" presId="urn:microsoft.com/office/officeart/2008/layout/IncreasingCircleProcess"/>
    <dgm:cxn modelId="{20E06B57-6616-48A8-A396-112A4DFBC1B1}" type="presParOf" srcId="{B849B1AC-9983-4683-8124-8468B7141CAD}" destId="{7F91505B-F7E8-4AAB-933F-FF0EF4BBAB6E}" srcOrd="3" destOrd="0" presId="urn:microsoft.com/office/officeart/2008/layout/IncreasingCircleProcess"/>
    <dgm:cxn modelId="{82E30CDD-E749-4452-B72D-85CDB5531E9D}" type="presParOf" srcId="{CE5F76D8-81CC-44F0-A60C-377C429CC22B}" destId="{9CB5F45B-5D4E-4CEB-80E8-03494EFE7752}" srcOrd="1" destOrd="0" presId="urn:microsoft.com/office/officeart/2008/layout/IncreasingCircleProcess"/>
    <dgm:cxn modelId="{D3C04E32-09F8-4A6E-819D-3B91DCDA958C}" type="presParOf" srcId="{CE5F76D8-81CC-44F0-A60C-377C429CC22B}" destId="{EE49ABE2-514D-430B-BD1F-AE9566D9C38F}" srcOrd="2" destOrd="0" presId="urn:microsoft.com/office/officeart/2008/layout/IncreasingCircleProcess"/>
    <dgm:cxn modelId="{79759960-6A17-48E2-8020-A7927A3A0C15}" type="presParOf" srcId="{EE49ABE2-514D-430B-BD1F-AE9566D9C38F}" destId="{BEA4255B-2CDC-4137-99A0-EC3DDA031E9F}" srcOrd="0" destOrd="0" presId="urn:microsoft.com/office/officeart/2008/layout/IncreasingCircleProcess"/>
    <dgm:cxn modelId="{C0980F38-1EA6-465F-BFAD-F65295807C14}" type="presParOf" srcId="{EE49ABE2-514D-430B-BD1F-AE9566D9C38F}" destId="{0C243966-3268-4B4A-966E-9E3CB126FBEB}" srcOrd="1" destOrd="0" presId="urn:microsoft.com/office/officeart/2008/layout/IncreasingCircleProcess"/>
    <dgm:cxn modelId="{076C57DF-F717-4DDF-87C7-7DC4E6A6ACD2}" type="presParOf" srcId="{EE49ABE2-514D-430B-BD1F-AE9566D9C38F}" destId="{51085A92-DC49-4A8F-B080-2741FB8957F7}" srcOrd="2" destOrd="0" presId="urn:microsoft.com/office/officeart/2008/layout/IncreasingCircleProcess"/>
    <dgm:cxn modelId="{4DBCFB65-8A7E-405A-9BFF-175537F1822D}" type="presParOf" srcId="{EE49ABE2-514D-430B-BD1F-AE9566D9C38F}" destId="{9622DB0E-75A0-4BD2-8540-11AC41754545}" srcOrd="3" destOrd="0" presId="urn:microsoft.com/office/officeart/2008/layout/IncreasingCircleProcess"/>
    <dgm:cxn modelId="{2DCA53C1-62F3-4851-AFEF-A24752D1E17A}" type="presParOf" srcId="{CE5F76D8-81CC-44F0-A60C-377C429CC22B}" destId="{CBB9E31A-C7B2-4BB0-B4E0-A1541A727458}" srcOrd="3" destOrd="0" presId="urn:microsoft.com/office/officeart/2008/layout/IncreasingCircleProcess"/>
    <dgm:cxn modelId="{379A7A9D-A4EE-4CE4-B923-A91ED62D7206}" type="presParOf" srcId="{CE5F76D8-81CC-44F0-A60C-377C429CC22B}" destId="{B4D97C9C-0BD0-4975-854F-64C205F3BBD0}" srcOrd="4" destOrd="0" presId="urn:microsoft.com/office/officeart/2008/layout/IncreasingCircleProcess"/>
    <dgm:cxn modelId="{35002C8D-132F-447C-8BBB-3A6C4DDAAC9F}" type="presParOf" srcId="{B4D97C9C-0BD0-4975-854F-64C205F3BBD0}" destId="{538DFBDD-36BD-41BF-A7E7-26A870525A3F}" srcOrd="0" destOrd="0" presId="urn:microsoft.com/office/officeart/2008/layout/IncreasingCircleProcess"/>
    <dgm:cxn modelId="{5240FF47-E365-4036-A3D6-7D178F4D1FF2}" type="presParOf" srcId="{B4D97C9C-0BD0-4975-854F-64C205F3BBD0}" destId="{BC2F1E63-DAEB-495D-A2F8-BCF0679E9E90}" srcOrd="1" destOrd="0" presId="urn:microsoft.com/office/officeart/2008/layout/IncreasingCircleProcess"/>
    <dgm:cxn modelId="{7F728DEA-F2D8-433D-A8E9-3A35A4111245}" type="presParOf" srcId="{B4D97C9C-0BD0-4975-854F-64C205F3BBD0}" destId="{ED8D212F-3981-4DF5-B79B-D4328D035650}" srcOrd="2" destOrd="0" presId="urn:microsoft.com/office/officeart/2008/layout/IncreasingCircleProcess"/>
    <dgm:cxn modelId="{CFF94EA0-EC24-4664-8A59-63F006CF57EE}" type="presParOf" srcId="{B4D97C9C-0BD0-4975-854F-64C205F3BBD0}" destId="{7206B366-0D84-402D-B756-C8F8E3859B2F}" srcOrd="3" destOrd="0" presId="urn:microsoft.com/office/officeart/2008/layout/IncreasingCircleProcess"/>
    <dgm:cxn modelId="{64C38F31-8B5D-4561-BFE6-AD7D6B3552E8}" type="presParOf" srcId="{CE5F76D8-81CC-44F0-A60C-377C429CC22B}" destId="{BE80A9B5-10DF-4110-983D-49FB1811B037}" srcOrd="5" destOrd="0" presId="urn:microsoft.com/office/officeart/2008/layout/IncreasingCircleProcess"/>
    <dgm:cxn modelId="{F2FE36AE-6140-4602-A03B-0D4245E178CD}" type="presParOf" srcId="{CE5F76D8-81CC-44F0-A60C-377C429CC22B}" destId="{FFCC6396-5107-4090-AFEC-5B7BF3640205}" srcOrd="6" destOrd="0" presId="urn:microsoft.com/office/officeart/2008/layout/IncreasingCircleProcess"/>
    <dgm:cxn modelId="{ED43DF2F-6B12-4AC3-AA88-A84052700508}" type="presParOf" srcId="{FFCC6396-5107-4090-AFEC-5B7BF3640205}" destId="{B25A50DC-3764-4BE3-9F8A-F95901EAC0C4}" srcOrd="0" destOrd="0" presId="urn:microsoft.com/office/officeart/2008/layout/IncreasingCircleProcess"/>
    <dgm:cxn modelId="{AD578BF7-C5DB-49AA-9E99-34D11E19E491}" type="presParOf" srcId="{FFCC6396-5107-4090-AFEC-5B7BF3640205}" destId="{16719827-A407-4540-BBF6-0AC6F38F085D}" srcOrd="1" destOrd="0" presId="urn:microsoft.com/office/officeart/2008/layout/IncreasingCircleProcess"/>
    <dgm:cxn modelId="{A9B4E5FC-3140-4F2A-AB0B-F1666C82E891}" type="presParOf" srcId="{FFCC6396-5107-4090-AFEC-5B7BF3640205}" destId="{C37CC030-2D7B-408E-8EE1-AB65E3FB32DF}" srcOrd="2" destOrd="0" presId="urn:microsoft.com/office/officeart/2008/layout/IncreasingCircleProcess"/>
    <dgm:cxn modelId="{EE43DDAF-FD99-41A3-B5DE-5060D09E580B}" type="presParOf" srcId="{FFCC6396-5107-4090-AFEC-5B7BF3640205}" destId="{F456962F-9A96-4E1D-8DC0-046EBB4644D8}" srcOrd="3" destOrd="0" presId="urn:microsoft.com/office/officeart/2008/layout/IncreasingCircleProcess"/>
    <dgm:cxn modelId="{972560F5-63F7-418C-ABCB-1CC67C47BED1}" type="presParOf" srcId="{CE5F76D8-81CC-44F0-A60C-377C429CC22B}" destId="{DB4678F0-771F-417F-94D5-718AA6769692}" srcOrd="7" destOrd="0" presId="urn:microsoft.com/office/officeart/2008/layout/IncreasingCircleProcess"/>
    <dgm:cxn modelId="{370B4309-3BA6-4F09-A6F8-A7F79F395472}" type="presParOf" srcId="{CE5F76D8-81CC-44F0-A60C-377C429CC22B}" destId="{89E6BDDB-CA15-42D3-AD57-7ACA77BE21D9}" srcOrd="8" destOrd="0" presId="urn:microsoft.com/office/officeart/2008/layout/IncreasingCircleProcess"/>
    <dgm:cxn modelId="{CB3A13DF-56C6-494B-A320-766CA597BD01}" type="presParOf" srcId="{89E6BDDB-CA15-42D3-AD57-7ACA77BE21D9}" destId="{847B07B2-1463-4A4C-A9D9-02294358E3F2}" srcOrd="0" destOrd="0" presId="urn:microsoft.com/office/officeart/2008/layout/IncreasingCircleProcess"/>
    <dgm:cxn modelId="{0F781C0D-05E1-40EE-A448-3D6D3181BD13}" type="presParOf" srcId="{89E6BDDB-CA15-42D3-AD57-7ACA77BE21D9}" destId="{AE105AA3-D274-4A2C-AD07-0B2FED997FEC}" srcOrd="1" destOrd="0" presId="urn:microsoft.com/office/officeart/2008/layout/IncreasingCircleProcess"/>
    <dgm:cxn modelId="{7492ED20-3EB1-497F-ADE4-593E09A7C85F}" type="presParOf" srcId="{89E6BDDB-CA15-42D3-AD57-7ACA77BE21D9}" destId="{338BAFF8-7EC6-438B-AAA3-D0DC326C23F9}" srcOrd="2" destOrd="0" presId="urn:microsoft.com/office/officeart/2008/layout/IncreasingCircleProcess"/>
    <dgm:cxn modelId="{B9721DAD-9C7C-44E2-A2B4-4B47B3A62B84}" type="presParOf" srcId="{89E6BDDB-CA15-42D3-AD57-7ACA77BE21D9}" destId="{5CC839DB-9D3B-4DCF-997A-30283D120095}"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2D7E722-51B5-4B77-B84A-0211A6C6EAC0}" type="doc">
      <dgm:prSet loTypeId="urn:microsoft.com/office/officeart/2008/layout/AccentedPicture" loCatId="picture" qsTypeId="urn:microsoft.com/office/officeart/2005/8/quickstyle/3d2" qsCatId="3D" csTypeId="urn:microsoft.com/office/officeart/2005/8/colors/accent4_5" csCatId="accent4" phldr="1"/>
      <dgm:spPr/>
      <dgm:t>
        <a:bodyPr/>
        <a:lstStyle/>
        <a:p>
          <a:endParaRPr lang="tr-TR"/>
        </a:p>
      </dgm:t>
    </dgm:pt>
    <dgm:pt modelId="{2091E673-CD70-4ED8-8F22-2A9E7EAC1A07}">
      <dgm:prSet phldrT="[Metin]" custT="1"/>
      <dgm:spPr/>
      <dgm:t>
        <a:bodyPr/>
        <a:lstStyle/>
        <a:p>
          <a:r>
            <a:rPr lang="en-US" sz="1400" b="1" dirty="0" smtClean="0">
              <a:latin typeface="Calibri" panose="020F0502020204030204" pitchFamily="34" charset="0"/>
              <a:cs typeface="Calibri" panose="020F0502020204030204" pitchFamily="34" charset="0"/>
            </a:rPr>
            <a:t>Sector</a:t>
          </a:r>
        </a:p>
        <a:p>
          <a:r>
            <a:rPr lang="en-US" sz="1400" dirty="0" smtClean="0">
              <a:latin typeface="Calibri" panose="020F0502020204030204" pitchFamily="34" charset="0"/>
              <a:cs typeface="Calibri" panose="020F0502020204030204" pitchFamily="34" charset="0"/>
            </a:rPr>
            <a:t>AFOLU (Agriculture, Forestry and Other Land Use)</a:t>
          </a:r>
          <a:endParaRPr lang="tr-TR" sz="1400" dirty="0">
            <a:latin typeface="Calibri" panose="020F0502020204030204" pitchFamily="34" charset="0"/>
            <a:cs typeface="Calibri" panose="020F0502020204030204" pitchFamily="34" charset="0"/>
          </a:endParaRPr>
        </a:p>
      </dgm:t>
    </dgm:pt>
    <dgm:pt modelId="{31035A16-4174-4E3E-A480-2D59A89A328C}" type="parTrans" cxnId="{D3D44D06-FC6E-4C50-99CE-8841459517C1}">
      <dgm:prSet/>
      <dgm:spPr/>
      <dgm:t>
        <a:bodyPr/>
        <a:lstStyle/>
        <a:p>
          <a:endParaRPr lang="tr-TR"/>
        </a:p>
      </dgm:t>
    </dgm:pt>
    <dgm:pt modelId="{E39EE3B6-31A2-4EC3-904A-1748791F6FB5}" type="sibTrans" cxnId="{D3D44D06-FC6E-4C50-99CE-8841459517C1}">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14000" r="-14000"/>
          </a:stretch>
        </a:blipFill>
      </dgm:spPr>
      <dgm:t>
        <a:bodyPr/>
        <a:lstStyle/>
        <a:p>
          <a:endParaRPr lang="tr-TR" sz="1400">
            <a:latin typeface="Calibri" panose="020F0502020204030204" pitchFamily="34" charset="0"/>
            <a:cs typeface="Calibri" panose="020F0502020204030204" pitchFamily="34" charset="0"/>
          </a:endParaRPr>
        </a:p>
      </dgm:t>
    </dgm:pt>
    <dgm:pt modelId="{D2474F2C-4C23-4689-8A28-6F978F6F4239}">
      <dgm:prSet phldrT="[Metin]" custT="1"/>
      <dgm:spPr/>
      <dgm:t>
        <a:bodyPr/>
        <a:lstStyle/>
        <a:p>
          <a:r>
            <a:rPr lang="en-US" sz="1400" b="1" dirty="0" smtClean="0">
              <a:latin typeface="Calibri" panose="020F0502020204030204" pitchFamily="34" charset="0"/>
              <a:cs typeface="Calibri" panose="020F0502020204030204" pitchFamily="34" charset="0"/>
            </a:rPr>
            <a:t>Type of Project</a:t>
          </a:r>
          <a:endParaRPr lang="tr-TR" sz="1400" dirty="0" smtClean="0">
            <a:latin typeface="Calibri" panose="020F0502020204030204" pitchFamily="34" charset="0"/>
            <a:cs typeface="Calibri" panose="020F0502020204030204" pitchFamily="34" charset="0"/>
          </a:endParaRPr>
        </a:p>
        <a:p>
          <a:r>
            <a:rPr lang="en-US" sz="1400" dirty="0" smtClean="0">
              <a:latin typeface="Calibri" panose="020F0502020204030204" pitchFamily="34" charset="0"/>
              <a:cs typeface="Calibri" panose="020F0502020204030204" pitchFamily="34" charset="0"/>
            </a:rPr>
            <a:t>Program – Capacity building &amp; technical assistance (grant-based)</a:t>
          </a:r>
          <a:endParaRPr lang="tr-TR" sz="1400" dirty="0">
            <a:latin typeface="Calibri" panose="020F0502020204030204" pitchFamily="34" charset="0"/>
            <a:cs typeface="Calibri" panose="020F0502020204030204" pitchFamily="34" charset="0"/>
          </a:endParaRPr>
        </a:p>
      </dgm:t>
    </dgm:pt>
    <dgm:pt modelId="{2B30086B-0D49-4EB9-876C-5E7EAD98097F}" type="parTrans" cxnId="{DEFA6C37-7187-4FF3-8BBA-AF24A3093DCF}">
      <dgm:prSet/>
      <dgm:spPr/>
      <dgm:t>
        <a:bodyPr/>
        <a:lstStyle/>
        <a:p>
          <a:endParaRPr lang="tr-TR"/>
        </a:p>
      </dgm:t>
    </dgm:pt>
    <dgm:pt modelId="{43FD56B9-4433-408D-8786-B25BD75B3377}" type="sibTrans" cxnId="{DEFA6C37-7187-4FF3-8BBA-AF24A3093DCF}">
      <dgm:prSet/>
      <dgm:spPr/>
      <dgm:t>
        <a:bodyPr/>
        <a:lstStyle/>
        <a:p>
          <a:endParaRPr lang="tr-TR"/>
        </a:p>
      </dgm:t>
    </dgm:pt>
    <dgm:pt modelId="{0C743825-AE4C-487D-94A3-614517960893}">
      <dgm:prSet phldrT="[Metin]" custT="1"/>
      <dgm:spPr/>
      <dgm:t>
        <a:bodyPr/>
        <a:lstStyle/>
        <a:p>
          <a:r>
            <a:rPr lang="en-US" sz="1400" b="1" dirty="0" smtClean="0">
              <a:latin typeface="Calibri" panose="020F0502020204030204" pitchFamily="34" charset="0"/>
              <a:cs typeface="Calibri" panose="020F0502020204030204" pitchFamily="34" charset="0"/>
            </a:rPr>
            <a:t>Project Sponsor / Owner</a:t>
          </a:r>
          <a:endParaRPr lang="tr-TR" sz="1400" b="1" dirty="0" smtClean="0">
            <a:latin typeface="Calibri" panose="020F0502020204030204" pitchFamily="34" charset="0"/>
            <a:cs typeface="Calibri" panose="020F0502020204030204" pitchFamily="34" charset="0"/>
          </a:endParaRPr>
        </a:p>
        <a:p>
          <a:r>
            <a:rPr lang="tr-TR" sz="1400" dirty="0" err="1" smtClean="0">
              <a:latin typeface="Calibri" panose="020F0502020204030204" pitchFamily="34" charset="0"/>
              <a:cs typeface="Calibri" panose="020F0502020204030204" pitchFamily="34" charset="0"/>
            </a:rPr>
            <a:t>Directorate</a:t>
          </a:r>
          <a:r>
            <a:rPr lang="tr-TR" sz="1400" dirty="0" smtClean="0">
              <a:latin typeface="Calibri" panose="020F0502020204030204" pitchFamily="34" charset="0"/>
              <a:cs typeface="Calibri" panose="020F0502020204030204" pitchFamily="34" charset="0"/>
            </a:rPr>
            <a:t> of </a:t>
          </a:r>
          <a:r>
            <a:rPr lang="en-US" sz="1400" dirty="0" smtClean="0">
              <a:latin typeface="Calibri" panose="020F0502020204030204" pitchFamily="34" charset="0"/>
              <a:cs typeface="Calibri" panose="020F0502020204030204" pitchFamily="34" charset="0"/>
            </a:rPr>
            <a:t>Climate Change (</a:t>
          </a:r>
          <a:r>
            <a:rPr lang="en-US" sz="1400" dirty="0" err="1" smtClean="0">
              <a:latin typeface="Calibri" panose="020F0502020204030204" pitchFamily="34" charset="0"/>
              <a:cs typeface="Calibri" panose="020F0502020204030204" pitchFamily="34" charset="0"/>
            </a:rPr>
            <a:t>MoEUCC</a:t>
          </a:r>
          <a:r>
            <a:rPr lang="en-US" sz="1400" dirty="0" smtClean="0">
              <a:latin typeface="Calibri" panose="020F0502020204030204" pitchFamily="34" charset="0"/>
              <a:cs typeface="Calibri" panose="020F0502020204030204" pitchFamily="34" charset="0"/>
            </a:rPr>
            <a:t>)</a:t>
          </a:r>
          <a:endParaRPr lang="tr-TR" sz="1400" dirty="0">
            <a:latin typeface="Calibri" panose="020F0502020204030204" pitchFamily="34" charset="0"/>
            <a:cs typeface="Calibri" panose="020F0502020204030204" pitchFamily="34" charset="0"/>
          </a:endParaRPr>
        </a:p>
      </dgm:t>
    </dgm:pt>
    <dgm:pt modelId="{90EA129A-1463-4C07-87BC-F9A10FACEBE0}" type="parTrans" cxnId="{83A15921-67B0-49B0-8B48-49E601EEA318}">
      <dgm:prSet/>
      <dgm:spPr/>
      <dgm:t>
        <a:bodyPr/>
        <a:lstStyle/>
        <a:p>
          <a:endParaRPr lang="tr-TR"/>
        </a:p>
      </dgm:t>
    </dgm:pt>
    <dgm:pt modelId="{8BB04FFE-07C7-4EB2-B20F-0580BFB9759C}" type="sibTrans" cxnId="{83A15921-67B0-49B0-8B48-49E601EEA318}">
      <dgm:prSet/>
      <dgm:spPr/>
      <dgm:t>
        <a:bodyPr/>
        <a:lstStyle/>
        <a:p>
          <a:endParaRPr lang="tr-TR"/>
        </a:p>
      </dgm:t>
    </dgm:pt>
    <dgm:pt modelId="{EBD0E0C2-C7B6-4F87-AEB1-2E8C024AD4D4}">
      <dgm:prSet phldrT="[Metin]" custT="1"/>
      <dgm:spPr/>
      <dgm:t>
        <a:bodyPr/>
        <a:lstStyle/>
        <a:p>
          <a:r>
            <a:rPr lang="en-US" sz="1400" b="1" dirty="0" smtClean="0">
              <a:latin typeface="Calibri" panose="020F0502020204030204" pitchFamily="34" charset="0"/>
              <a:cs typeface="Calibri" panose="020F0502020204030204" pitchFamily="34" charset="0"/>
            </a:rPr>
            <a:t>Contractual Structure</a:t>
          </a:r>
          <a:endParaRPr lang="tr-TR" sz="1400" b="1" dirty="0" smtClean="0">
            <a:latin typeface="Calibri" panose="020F0502020204030204" pitchFamily="34" charset="0"/>
            <a:cs typeface="Calibri" panose="020F0502020204030204" pitchFamily="34" charset="0"/>
          </a:endParaRPr>
        </a:p>
        <a:p>
          <a:r>
            <a:rPr lang="en-US" sz="1400" dirty="0" smtClean="0">
              <a:latin typeface="Calibri" panose="020F0502020204030204" pitchFamily="34" charset="0"/>
              <a:cs typeface="Calibri" panose="020F0502020204030204" pitchFamily="34" charset="0"/>
            </a:rPr>
            <a:t>Grant-financed public program</a:t>
          </a:r>
          <a:endParaRPr lang="tr-TR" sz="1400" dirty="0">
            <a:latin typeface="Calibri" panose="020F0502020204030204" pitchFamily="34" charset="0"/>
            <a:cs typeface="Calibri" panose="020F0502020204030204" pitchFamily="34" charset="0"/>
          </a:endParaRPr>
        </a:p>
      </dgm:t>
    </dgm:pt>
    <dgm:pt modelId="{5A17E12C-AD97-4EC1-B409-5F85D629250F}" type="parTrans" cxnId="{71B825B9-B2DD-47D0-B471-E5EDA1D110D5}">
      <dgm:prSet/>
      <dgm:spPr/>
      <dgm:t>
        <a:bodyPr/>
        <a:lstStyle/>
        <a:p>
          <a:endParaRPr lang="tr-TR"/>
        </a:p>
      </dgm:t>
    </dgm:pt>
    <dgm:pt modelId="{38E93A02-0F93-40A3-BBFE-83E6085019F1}" type="sibTrans" cxnId="{71B825B9-B2DD-47D0-B471-E5EDA1D110D5}">
      <dgm:prSet/>
      <dgm:spPr/>
      <dgm:t>
        <a:bodyPr/>
        <a:lstStyle/>
        <a:p>
          <a:endParaRPr lang="tr-TR"/>
        </a:p>
      </dgm:t>
    </dgm:pt>
    <dgm:pt modelId="{B851B928-9202-4C91-9F7E-9F055A91F3E9}" type="pres">
      <dgm:prSet presAssocID="{32D7E722-51B5-4B77-B84A-0211A6C6EAC0}" presName="Name0" presStyleCnt="0">
        <dgm:presLayoutVars>
          <dgm:dir/>
        </dgm:presLayoutVars>
      </dgm:prSet>
      <dgm:spPr/>
      <dgm:t>
        <a:bodyPr/>
        <a:lstStyle/>
        <a:p>
          <a:endParaRPr lang="tr-TR"/>
        </a:p>
      </dgm:t>
    </dgm:pt>
    <dgm:pt modelId="{0732BD2F-BCB1-4373-9437-FA8F7642BE13}" type="pres">
      <dgm:prSet presAssocID="{E39EE3B6-31A2-4EC3-904A-1748791F6FB5}" presName="picture_1" presStyleLbl="bgImgPlace1" presStyleIdx="0" presStyleCnt="1"/>
      <dgm:spPr/>
      <dgm:t>
        <a:bodyPr/>
        <a:lstStyle/>
        <a:p>
          <a:endParaRPr lang="tr-TR"/>
        </a:p>
      </dgm:t>
    </dgm:pt>
    <dgm:pt modelId="{67F2171F-972F-44C3-8D21-1DB979685FB7}" type="pres">
      <dgm:prSet presAssocID="{2091E673-CD70-4ED8-8F22-2A9E7EAC1A07}" presName="text_1" presStyleLbl="node1" presStyleIdx="0" presStyleCnt="0">
        <dgm:presLayoutVars>
          <dgm:bulletEnabled val="1"/>
        </dgm:presLayoutVars>
      </dgm:prSet>
      <dgm:spPr/>
      <dgm:t>
        <a:bodyPr/>
        <a:lstStyle/>
        <a:p>
          <a:endParaRPr lang="tr-TR"/>
        </a:p>
      </dgm:t>
    </dgm:pt>
    <dgm:pt modelId="{47092916-3BA2-4DE5-BDCA-5B2BB8A8DDA9}" type="pres">
      <dgm:prSet presAssocID="{32D7E722-51B5-4B77-B84A-0211A6C6EAC0}" presName="linV" presStyleCnt="0"/>
      <dgm:spPr/>
    </dgm:pt>
    <dgm:pt modelId="{B6A851BD-9B29-40A4-B205-B709B8B8D6D6}" type="pres">
      <dgm:prSet presAssocID="{D2474F2C-4C23-4689-8A28-6F978F6F4239}" presName="pair" presStyleCnt="0"/>
      <dgm:spPr/>
    </dgm:pt>
    <dgm:pt modelId="{6B5700C0-2984-4394-9D83-20FFCF106D72}" type="pres">
      <dgm:prSet presAssocID="{D2474F2C-4C23-4689-8A28-6F978F6F4239}" presName="spaceH" presStyleLbl="node1" presStyleIdx="0" presStyleCnt="0"/>
      <dgm:spPr/>
    </dgm:pt>
    <dgm:pt modelId="{FA2A6045-DCF3-430C-9B78-52A2B1F14712}" type="pres">
      <dgm:prSet presAssocID="{D2474F2C-4C23-4689-8A28-6F978F6F4239}" presName="desPictures" presStyleLbl="alignImgPlace1" presStyleIdx="0"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A8A1451F-D8A0-4D06-9F75-9602CC6EABF9}" type="pres">
      <dgm:prSet presAssocID="{D2474F2C-4C23-4689-8A28-6F978F6F4239}" presName="desTextWrapper" presStyleCnt="0"/>
      <dgm:spPr/>
    </dgm:pt>
    <dgm:pt modelId="{451DEFD0-A916-4131-A5B7-31ABC75026A7}" type="pres">
      <dgm:prSet presAssocID="{D2474F2C-4C23-4689-8A28-6F978F6F4239}" presName="desText" presStyleLbl="revTx" presStyleIdx="0" presStyleCnt="3" custScaleX="139933">
        <dgm:presLayoutVars>
          <dgm:bulletEnabled val="1"/>
        </dgm:presLayoutVars>
      </dgm:prSet>
      <dgm:spPr/>
      <dgm:t>
        <a:bodyPr/>
        <a:lstStyle/>
        <a:p>
          <a:endParaRPr lang="tr-TR"/>
        </a:p>
      </dgm:t>
    </dgm:pt>
    <dgm:pt modelId="{5CBE7E7B-E63C-4757-9D31-C631CE07732A}" type="pres">
      <dgm:prSet presAssocID="{43FD56B9-4433-408D-8786-B25BD75B3377}" presName="spaceV" presStyleCnt="0"/>
      <dgm:spPr/>
    </dgm:pt>
    <dgm:pt modelId="{443C591F-13BE-4927-855A-C1DB4A4ABE73}" type="pres">
      <dgm:prSet presAssocID="{0C743825-AE4C-487D-94A3-614517960893}" presName="pair" presStyleCnt="0"/>
      <dgm:spPr/>
    </dgm:pt>
    <dgm:pt modelId="{67DAA80C-B944-4512-8B68-AC59B97FBBA3}" type="pres">
      <dgm:prSet presAssocID="{0C743825-AE4C-487D-94A3-614517960893}" presName="spaceH" presStyleLbl="node1" presStyleIdx="0" presStyleCnt="0"/>
      <dgm:spPr/>
    </dgm:pt>
    <dgm:pt modelId="{2E3B38FC-8E14-424A-B0D6-A6FE230822C1}" type="pres">
      <dgm:prSet presAssocID="{0C743825-AE4C-487D-94A3-614517960893}" presName="desPictures" presStyleLbl="alignImgPlace1" presStyleIdx="1"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965C5975-C7B4-4BBA-8479-75562D3E2B6D}" type="pres">
      <dgm:prSet presAssocID="{0C743825-AE4C-487D-94A3-614517960893}" presName="desTextWrapper" presStyleCnt="0"/>
      <dgm:spPr/>
    </dgm:pt>
    <dgm:pt modelId="{9D181680-B7D8-4B1B-8085-E5A3C164725D}" type="pres">
      <dgm:prSet presAssocID="{0C743825-AE4C-487D-94A3-614517960893}" presName="desText" presStyleLbl="revTx" presStyleIdx="1" presStyleCnt="3" custScaleX="152284">
        <dgm:presLayoutVars>
          <dgm:bulletEnabled val="1"/>
        </dgm:presLayoutVars>
      </dgm:prSet>
      <dgm:spPr/>
      <dgm:t>
        <a:bodyPr/>
        <a:lstStyle/>
        <a:p>
          <a:endParaRPr lang="tr-TR"/>
        </a:p>
      </dgm:t>
    </dgm:pt>
    <dgm:pt modelId="{8DA944F5-8686-474A-9112-27DA6EAE67DB}" type="pres">
      <dgm:prSet presAssocID="{8BB04FFE-07C7-4EB2-B20F-0580BFB9759C}" presName="spaceV" presStyleCnt="0"/>
      <dgm:spPr/>
    </dgm:pt>
    <dgm:pt modelId="{3DBA304B-83A7-4F49-80BC-259BE84099BB}" type="pres">
      <dgm:prSet presAssocID="{EBD0E0C2-C7B6-4F87-AEB1-2E8C024AD4D4}" presName="pair" presStyleCnt="0"/>
      <dgm:spPr/>
    </dgm:pt>
    <dgm:pt modelId="{233ADEB6-7286-499A-BD70-0977A6AC42F5}" type="pres">
      <dgm:prSet presAssocID="{EBD0E0C2-C7B6-4F87-AEB1-2E8C024AD4D4}" presName="spaceH" presStyleLbl="node1" presStyleIdx="0" presStyleCnt="0"/>
      <dgm:spPr/>
    </dgm:pt>
    <dgm:pt modelId="{F9980264-8312-4092-83DF-319E998FB78F}" type="pres">
      <dgm:prSet presAssocID="{EBD0E0C2-C7B6-4F87-AEB1-2E8C024AD4D4}" presName="desPictures" presStyleLbl="alignImgPlace1" presStyleIdx="2" presStyleCnt="3"/>
      <dgm:spPr>
        <a:blipFill>
          <a:blip xmlns:r="http://schemas.openxmlformats.org/officeDocument/2006/relationships" r:embed="rId4">
            <a:extLst>
              <a:ext uri="{28A0092B-C50C-407E-A947-70E740481C1C}">
                <a14:useLocalDpi xmlns:a14="http://schemas.microsoft.com/office/drawing/2010/main" val="0"/>
              </a:ext>
            </a:extLst>
          </a:blip>
          <a:srcRect/>
          <a:stretch>
            <a:fillRect l="-3000" r="-3000"/>
          </a:stretch>
        </a:blipFill>
      </dgm:spPr>
    </dgm:pt>
    <dgm:pt modelId="{39091138-7EE5-4383-8B8B-064F932AB177}" type="pres">
      <dgm:prSet presAssocID="{EBD0E0C2-C7B6-4F87-AEB1-2E8C024AD4D4}" presName="desTextWrapper" presStyleCnt="0"/>
      <dgm:spPr/>
    </dgm:pt>
    <dgm:pt modelId="{A2672603-3545-40E2-A61B-02146E9E85D3}" type="pres">
      <dgm:prSet presAssocID="{EBD0E0C2-C7B6-4F87-AEB1-2E8C024AD4D4}" presName="desText" presStyleLbl="revTx" presStyleIdx="2" presStyleCnt="3" custScaleX="179481">
        <dgm:presLayoutVars>
          <dgm:bulletEnabled val="1"/>
        </dgm:presLayoutVars>
      </dgm:prSet>
      <dgm:spPr/>
      <dgm:t>
        <a:bodyPr/>
        <a:lstStyle/>
        <a:p>
          <a:endParaRPr lang="tr-TR"/>
        </a:p>
      </dgm:t>
    </dgm:pt>
    <dgm:pt modelId="{A9445BCB-EE82-43FA-BEF0-3E5B8FC51CBC}" type="pres">
      <dgm:prSet presAssocID="{32D7E722-51B5-4B77-B84A-0211A6C6EAC0}" presName="maxNode" presStyleCnt="0"/>
      <dgm:spPr/>
    </dgm:pt>
    <dgm:pt modelId="{9114569C-EF51-48CB-82EA-B3B547D3662F}" type="pres">
      <dgm:prSet presAssocID="{32D7E722-51B5-4B77-B84A-0211A6C6EAC0}" presName="Name33" presStyleCnt="0"/>
      <dgm:spPr/>
    </dgm:pt>
  </dgm:ptLst>
  <dgm:cxnLst>
    <dgm:cxn modelId="{71B825B9-B2DD-47D0-B471-E5EDA1D110D5}" srcId="{32D7E722-51B5-4B77-B84A-0211A6C6EAC0}" destId="{EBD0E0C2-C7B6-4F87-AEB1-2E8C024AD4D4}" srcOrd="3" destOrd="0" parTransId="{5A17E12C-AD97-4EC1-B409-5F85D629250F}" sibTransId="{38E93A02-0F93-40A3-BBFE-83E6085019F1}"/>
    <dgm:cxn modelId="{DEFA6C37-7187-4FF3-8BBA-AF24A3093DCF}" srcId="{32D7E722-51B5-4B77-B84A-0211A6C6EAC0}" destId="{D2474F2C-4C23-4689-8A28-6F978F6F4239}" srcOrd="1" destOrd="0" parTransId="{2B30086B-0D49-4EB9-876C-5E7EAD98097F}" sibTransId="{43FD56B9-4433-408D-8786-B25BD75B3377}"/>
    <dgm:cxn modelId="{DD0A4C2A-6711-4FEC-8FD3-1FAA2C6B9ABF}" type="presOf" srcId="{E39EE3B6-31A2-4EC3-904A-1748791F6FB5}" destId="{0732BD2F-BCB1-4373-9437-FA8F7642BE13}" srcOrd="0" destOrd="0" presId="urn:microsoft.com/office/officeart/2008/layout/AccentedPicture"/>
    <dgm:cxn modelId="{C9CB38B5-9941-4290-8C46-13AF5AD54537}" type="presOf" srcId="{32D7E722-51B5-4B77-B84A-0211A6C6EAC0}" destId="{B851B928-9202-4C91-9F7E-9F055A91F3E9}" srcOrd="0" destOrd="0" presId="urn:microsoft.com/office/officeart/2008/layout/AccentedPicture"/>
    <dgm:cxn modelId="{7FA08AE6-E463-42A6-8D3F-FDC211827233}" type="presOf" srcId="{D2474F2C-4C23-4689-8A28-6F978F6F4239}" destId="{451DEFD0-A916-4131-A5B7-31ABC75026A7}" srcOrd="0" destOrd="0" presId="urn:microsoft.com/office/officeart/2008/layout/AccentedPicture"/>
    <dgm:cxn modelId="{E0255377-9C56-4760-9B79-924A68A91104}" type="presOf" srcId="{EBD0E0C2-C7B6-4F87-AEB1-2E8C024AD4D4}" destId="{A2672603-3545-40E2-A61B-02146E9E85D3}" srcOrd="0" destOrd="0" presId="urn:microsoft.com/office/officeart/2008/layout/AccentedPicture"/>
    <dgm:cxn modelId="{83A15921-67B0-49B0-8B48-49E601EEA318}" srcId="{32D7E722-51B5-4B77-B84A-0211A6C6EAC0}" destId="{0C743825-AE4C-487D-94A3-614517960893}" srcOrd="2" destOrd="0" parTransId="{90EA129A-1463-4C07-87BC-F9A10FACEBE0}" sibTransId="{8BB04FFE-07C7-4EB2-B20F-0580BFB9759C}"/>
    <dgm:cxn modelId="{6F78E146-F1C5-4709-A393-5EFBF0A6D104}" type="presOf" srcId="{0C743825-AE4C-487D-94A3-614517960893}" destId="{9D181680-B7D8-4B1B-8085-E5A3C164725D}" srcOrd="0" destOrd="0" presId="urn:microsoft.com/office/officeart/2008/layout/AccentedPicture"/>
    <dgm:cxn modelId="{D3D44D06-FC6E-4C50-99CE-8841459517C1}" srcId="{32D7E722-51B5-4B77-B84A-0211A6C6EAC0}" destId="{2091E673-CD70-4ED8-8F22-2A9E7EAC1A07}" srcOrd="0" destOrd="0" parTransId="{31035A16-4174-4E3E-A480-2D59A89A328C}" sibTransId="{E39EE3B6-31A2-4EC3-904A-1748791F6FB5}"/>
    <dgm:cxn modelId="{F6194DEF-8FE5-4195-8AAE-1EF9B7118570}" type="presOf" srcId="{2091E673-CD70-4ED8-8F22-2A9E7EAC1A07}" destId="{67F2171F-972F-44C3-8D21-1DB979685FB7}" srcOrd="0" destOrd="0" presId="urn:microsoft.com/office/officeart/2008/layout/AccentedPicture"/>
    <dgm:cxn modelId="{91DBD625-F59E-48F1-A336-0EBB5E7141CC}" type="presParOf" srcId="{B851B928-9202-4C91-9F7E-9F055A91F3E9}" destId="{0732BD2F-BCB1-4373-9437-FA8F7642BE13}" srcOrd="0" destOrd="0" presId="urn:microsoft.com/office/officeart/2008/layout/AccentedPicture"/>
    <dgm:cxn modelId="{6EBFA22B-BE8F-4709-B1A3-01B643DAFDD4}" type="presParOf" srcId="{B851B928-9202-4C91-9F7E-9F055A91F3E9}" destId="{67F2171F-972F-44C3-8D21-1DB979685FB7}" srcOrd="1" destOrd="0" presId="urn:microsoft.com/office/officeart/2008/layout/AccentedPicture"/>
    <dgm:cxn modelId="{493BE888-FABD-40BD-A174-DC575CCBEB4A}" type="presParOf" srcId="{B851B928-9202-4C91-9F7E-9F055A91F3E9}" destId="{47092916-3BA2-4DE5-BDCA-5B2BB8A8DDA9}" srcOrd="2" destOrd="0" presId="urn:microsoft.com/office/officeart/2008/layout/AccentedPicture"/>
    <dgm:cxn modelId="{3EADF41D-6AE9-499D-A719-6AAF5A6648D3}" type="presParOf" srcId="{47092916-3BA2-4DE5-BDCA-5B2BB8A8DDA9}" destId="{B6A851BD-9B29-40A4-B205-B709B8B8D6D6}" srcOrd="0" destOrd="0" presId="urn:microsoft.com/office/officeart/2008/layout/AccentedPicture"/>
    <dgm:cxn modelId="{BC2CD255-B7C4-41D9-A62C-7532FA22AC87}" type="presParOf" srcId="{B6A851BD-9B29-40A4-B205-B709B8B8D6D6}" destId="{6B5700C0-2984-4394-9D83-20FFCF106D72}" srcOrd="0" destOrd="0" presId="urn:microsoft.com/office/officeart/2008/layout/AccentedPicture"/>
    <dgm:cxn modelId="{EC8D44F0-FCC5-420E-91CD-501986D759A6}" type="presParOf" srcId="{B6A851BD-9B29-40A4-B205-B709B8B8D6D6}" destId="{FA2A6045-DCF3-430C-9B78-52A2B1F14712}" srcOrd="1" destOrd="0" presId="urn:microsoft.com/office/officeart/2008/layout/AccentedPicture"/>
    <dgm:cxn modelId="{C5AD88A7-5401-47EB-A3A0-779774E2DF99}" type="presParOf" srcId="{B6A851BD-9B29-40A4-B205-B709B8B8D6D6}" destId="{A8A1451F-D8A0-4D06-9F75-9602CC6EABF9}" srcOrd="2" destOrd="0" presId="urn:microsoft.com/office/officeart/2008/layout/AccentedPicture"/>
    <dgm:cxn modelId="{4D3AF57C-D2DB-42F0-8C03-B9AE7AA3726C}" type="presParOf" srcId="{A8A1451F-D8A0-4D06-9F75-9602CC6EABF9}" destId="{451DEFD0-A916-4131-A5B7-31ABC75026A7}" srcOrd="0" destOrd="0" presId="urn:microsoft.com/office/officeart/2008/layout/AccentedPicture"/>
    <dgm:cxn modelId="{4DE5BBCE-1C8F-42A0-9F47-153324D8BCF6}" type="presParOf" srcId="{47092916-3BA2-4DE5-BDCA-5B2BB8A8DDA9}" destId="{5CBE7E7B-E63C-4757-9D31-C631CE07732A}" srcOrd="1" destOrd="0" presId="urn:microsoft.com/office/officeart/2008/layout/AccentedPicture"/>
    <dgm:cxn modelId="{117348C8-0F5A-44E0-B418-BD973226EF0A}" type="presParOf" srcId="{47092916-3BA2-4DE5-BDCA-5B2BB8A8DDA9}" destId="{443C591F-13BE-4927-855A-C1DB4A4ABE73}" srcOrd="2" destOrd="0" presId="urn:microsoft.com/office/officeart/2008/layout/AccentedPicture"/>
    <dgm:cxn modelId="{C3F5D0F6-FFF5-40CE-92DB-9D14739BF909}" type="presParOf" srcId="{443C591F-13BE-4927-855A-C1DB4A4ABE73}" destId="{67DAA80C-B944-4512-8B68-AC59B97FBBA3}" srcOrd="0" destOrd="0" presId="urn:microsoft.com/office/officeart/2008/layout/AccentedPicture"/>
    <dgm:cxn modelId="{095123B6-9D7C-4756-A999-BE331BE6AEB4}" type="presParOf" srcId="{443C591F-13BE-4927-855A-C1DB4A4ABE73}" destId="{2E3B38FC-8E14-424A-B0D6-A6FE230822C1}" srcOrd="1" destOrd="0" presId="urn:microsoft.com/office/officeart/2008/layout/AccentedPicture"/>
    <dgm:cxn modelId="{F926D057-03CF-40B2-ABB0-C3E9F3814AC3}" type="presParOf" srcId="{443C591F-13BE-4927-855A-C1DB4A4ABE73}" destId="{965C5975-C7B4-4BBA-8479-75562D3E2B6D}" srcOrd="2" destOrd="0" presId="urn:microsoft.com/office/officeart/2008/layout/AccentedPicture"/>
    <dgm:cxn modelId="{D049ED0D-4138-4B17-8B84-667393C09C3A}" type="presParOf" srcId="{965C5975-C7B4-4BBA-8479-75562D3E2B6D}" destId="{9D181680-B7D8-4B1B-8085-E5A3C164725D}" srcOrd="0" destOrd="0" presId="urn:microsoft.com/office/officeart/2008/layout/AccentedPicture"/>
    <dgm:cxn modelId="{1DB6674A-C4C0-4910-97C5-00E6BD8E0957}" type="presParOf" srcId="{47092916-3BA2-4DE5-BDCA-5B2BB8A8DDA9}" destId="{8DA944F5-8686-474A-9112-27DA6EAE67DB}" srcOrd="3" destOrd="0" presId="urn:microsoft.com/office/officeart/2008/layout/AccentedPicture"/>
    <dgm:cxn modelId="{926CDE44-D8BC-4B6F-AEB7-32719D976AA8}" type="presParOf" srcId="{47092916-3BA2-4DE5-BDCA-5B2BB8A8DDA9}" destId="{3DBA304B-83A7-4F49-80BC-259BE84099BB}" srcOrd="4" destOrd="0" presId="urn:microsoft.com/office/officeart/2008/layout/AccentedPicture"/>
    <dgm:cxn modelId="{E68A2D99-A365-4527-A0E8-9D27F2E24945}" type="presParOf" srcId="{3DBA304B-83A7-4F49-80BC-259BE84099BB}" destId="{233ADEB6-7286-499A-BD70-0977A6AC42F5}" srcOrd="0" destOrd="0" presId="urn:microsoft.com/office/officeart/2008/layout/AccentedPicture"/>
    <dgm:cxn modelId="{0E3623E1-B8DB-45EF-9B53-619AC41AA32E}" type="presParOf" srcId="{3DBA304B-83A7-4F49-80BC-259BE84099BB}" destId="{F9980264-8312-4092-83DF-319E998FB78F}" srcOrd="1" destOrd="0" presId="urn:microsoft.com/office/officeart/2008/layout/AccentedPicture"/>
    <dgm:cxn modelId="{36F288D8-64A4-4E57-923F-300AFBBD3AA7}" type="presParOf" srcId="{3DBA304B-83A7-4F49-80BC-259BE84099BB}" destId="{39091138-7EE5-4383-8B8B-064F932AB177}" srcOrd="2" destOrd="0" presId="urn:microsoft.com/office/officeart/2008/layout/AccentedPicture"/>
    <dgm:cxn modelId="{272DF55C-9872-47C7-A2FB-F45FDE08C0DB}" type="presParOf" srcId="{39091138-7EE5-4383-8B8B-064F932AB177}" destId="{A2672603-3545-40E2-A61B-02146E9E85D3}" srcOrd="0" destOrd="0" presId="urn:microsoft.com/office/officeart/2008/layout/AccentedPicture"/>
    <dgm:cxn modelId="{15DF3CC7-3F5C-411D-A3AD-9A4808B028C8}" type="presParOf" srcId="{B851B928-9202-4C91-9F7E-9F055A91F3E9}" destId="{A9445BCB-EE82-43FA-BEF0-3E5B8FC51CBC}" srcOrd="3" destOrd="0" presId="urn:microsoft.com/office/officeart/2008/layout/AccentedPicture"/>
    <dgm:cxn modelId="{B3D8FB56-A895-4224-BEB1-16634B394C04}" type="presParOf" srcId="{A9445BCB-EE82-43FA-BEF0-3E5B8FC51CBC}" destId="{9114569C-EF51-48CB-82EA-B3B547D3662F}" srcOrd="0" destOrd="0" presId="urn:microsoft.com/office/officeart/2008/layout/AccentedPi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4EDF33-9A46-4789-A1C3-48862DB7FD2F}">
      <dsp:nvSpPr>
        <dsp:cNvPr id="0" name=""/>
        <dsp:cNvSpPr/>
      </dsp:nvSpPr>
      <dsp:spPr>
        <a:xfrm>
          <a:off x="0" y="67653"/>
          <a:ext cx="10933350" cy="575639"/>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kern="1200" dirty="0" smtClean="0">
              <a:latin typeface="Calibri" panose="020F0502020204030204" pitchFamily="34" charset="0"/>
              <a:cs typeface="Calibri" panose="020F0502020204030204" pitchFamily="34" charset="0"/>
            </a:rPr>
            <a:t>AFOLU </a:t>
          </a:r>
          <a:r>
            <a:rPr lang="tr-TR" sz="2400" kern="1200" dirty="0" err="1" smtClean="0">
              <a:latin typeface="Calibri" panose="020F0502020204030204" pitchFamily="34" charset="0"/>
              <a:cs typeface="Calibri" panose="020F0502020204030204" pitchFamily="34" charset="0"/>
            </a:rPr>
            <a:t>Sector</a:t>
          </a:r>
          <a:r>
            <a:rPr lang="tr-TR" sz="2400" kern="1200" dirty="0" smtClean="0">
              <a:latin typeface="Calibri" panose="020F0502020204030204" pitchFamily="34" charset="0"/>
              <a:cs typeface="Calibri" panose="020F0502020204030204" pitchFamily="34" charset="0"/>
            </a:rPr>
            <a:t> Role</a:t>
          </a:r>
          <a:endParaRPr lang="tr-TR" sz="2400" kern="1200" dirty="0">
            <a:latin typeface="Calibri" panose="020F0502020204030204" pitchFamily="34" charset="0"/>
            <a:cs typeface="Calibri" panose="020F0502020204030204" pitchFamily="34" charset="0"/>
          </a:endParaRPr>
        </a:p>
      </dsp:txBody>
      <dsp:txXfrm>
        <a:off x="28100" y="95753"/>
        <a:ext cx="10877150" cy="519439"/>
      </dsp:txXfrm>
    </dsp:sp>
    <dsp:sp modelId="{4CC91272-EE21-4245-9EB4-CD8741F5AA19}">
      <dsp:nvSpPr>
        <dsp:cNvPr id="0" name=""/>
        <dsp:cNvSpPr/>
      </dsp:nvSpPr>
      <dsp:spPr>
        <a:xfrm>
          <a:off x="0" y="643293"/>
          <a:ext cx="10933350"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4"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smtClean="0">
              <a:latin typeface="Calibri" panose="020F0502020204030204" pitchFamily="34" charset="0"/>
              <a:cs typeface="Calibri" panose="020F0502020204030204" pitchFamily="34" charset="0"/>
            </a:rPr>
            <a:t>Agriculture and forestry play a critical role in </a:t>
          </a:r>
          <a:r>
            <a:rPr lang="en-US" sz="1900" kern="1200" dirty="0" err="1" smtClean="0">
              <a:latin typeface="Calibri" panose="020F0502020204030204" pitchFamily="34" charset="0"/>
              <a:cs typeface="Calibri" panose="020F0502020204030204" pitchFamily="34" charset="0"/>
            </a:rPr>
            <a:t>Türkiye’s</a:t>
          </a:r>
          <a:r>
            <a:rPr lang="en-US" sz="1900" kern="1200" dirty="0" smtClean="0">
              <a:latin typeface="Calibri" panose="020F0502020204030204" pitchFamily="34" charset="0"/>
              <a:cs typeface="Calibri" panose="020F0502020204030204" pitchFamily="34" charset="0"/>
            </a:rPr>
            <a:t> 2053 net-zero target </a:t>
          </a:r>
          <a:r>
            <a:rPr lang="tr-TR" sz="1900" kern="1200" dirty="0" err="1" smtClean="0">
              <a:latin typeface="Calibri" panose="020F0502020204030204" pitchFamily="34" charset="0"/>
              <a:cs typeface="Calibri" panose="020F0502020204030204" pitchFamily="34" charset="0"/>
            </a:rPr>
            <a:t>with</a:t>
          </a:r>
          <a:r>
            <a:rPr lang="tr-TR" sz="1900" kern="1200" dirty="0" smtClean="0">
              <a:latin typeface="Calibri" panose="020F0502020204030204" pitchFamily="34" charset="0"/>
              <a:cs typeface="Calibri" panose="020F0502020204030204" pitchFamily="34" charset="0"/>
            </a:rPr>
            <a:t> </a:t>
          </a:r>
          <a:r>
            <a:rPr lang="en-US" sz="1900" kern="1200" dirty="0" smtClean="0">
              <a:latin typeface="Calibri" panose="020F0502020204030204" pitchFamily="34" charset="0"/>
              <a:cs typeface="Calibri" panose="020F0502020204030204" pitchFamily="34" charset="0"/>
            </a:rPr>
            <a:t>their </a:t>
          </a:r>
          <a:r>
            <a:rPr lang="en-US" sz="1900" b="1" kern="1200" dirty="0" smtClean="0">
              <a:latin typeface="Calibri" panose="020F0502020204030204" pitchFamily="34" charset="0"/>
              <a:cs typeface="Calibri" panose="020F0502020204030204" pitchFamily="34" charset="0"/>
            </a:rPr>
            <a:t>carbon sink capacity and strong mitigation potential.</a:t>
          </a:r>
          <a:endParaRPr lang="tr-TR" sz="1900" b="1" kern="1200" dirty="0">
            <a:latin typeface="Calibri" panose="020F0502020204030204" pitchFamily="34" charset="0"/>
            <a:cs typeface="Calibri" panose="020F0502020204030204" pitchFamily="34" charset="0"/>
          </a:endParaRPr>
        </a:p>
      </dsp:txBody>
      <dsp:txXfrm>
        <a:off x="0" y="643293"/>
        <a:ext cx="10933350" cy="596160"/>
      </dsp:txXfrm>
    </dsp:sp>
    <dsp:sp modelId="{BEA9028E-86BF-44BA-81DD-648E9596F9FB}">
      <dsp:nvSpPr>
        <dsp:cNvPr id="0" name=""/>
        <dsp:cNvSpPr/>
      </dsp:nvSpPr>
      <dsp:spPr>
        <a:xfrm>
          <a:off x="0" y="1239453"/>
          <a:ext cx="10933350" cy="575639"/>
        </a:xfrm>
        <a:prstGeom prst="roundRect">
          <a:avLst/>
        </a:prstGeom>
        <a:solidFill>
          <a:schemeClr val="accent4">
            <a:hueOff val="1252172"/>
            <a:satOff val="-15004"/>
            <a:lumOff val="-6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kern="1200" dirty="0" err="1" smtClean="0">
              <a:latin typeface="Calibri" panose="020F0502020204030204" pitchFamily="34" charset="0"/>
              <a:cs typeface="Calibri" panose="020F0502020204030204" pitchFamily="34" charset="0"/>
            </a:rPr>
            <a:t>Capacity</a:t>
          </a:r>
          <a:r>
            <a:rPr lang="tr-TR" sz="2400" kern="1200" dirty="0" smtClean="0">
              <a:latin typeface="Calibri" panose="020F0502020204030204" pitchFamily="34" charset="0"/>
              <a:cs typeface="Calibri" panose="020F0502020204030204" pitchFamily="34" charset="0"/>
            </a:rPr>
            <a:t> &amp; </a:t>
          </a:r>
          <a:r>
            <a:rPr lang="tr-TR" sz="2400" kern="1200" dirty="0" err="1" smtClean="0">
              <a:latin typeface="Calibri" panose="020F0502020204030204" pitchFamily="34" charset="0"/>
              <a:cs typeface="Calibri" panose="020F0502020204030204" pitchFamily="34" charset="0"/>
            </a:rPr>
            <a:t>Policy</a:t>
          </a:r>
          <a:r>
            <a:rPr lang="tr-TR" sz="2400" kern="1200" dirty="0" smtClean="0">
              <a:latin typeface="Calibri" panose="020F0502020204030204" pitchFamily="34" charset="0"/>
              <a:cs typeface="Calibri" panose="020F0502020204030204" pitchFamily="34" charset="0"/>
            </a:rPr>
            <a:t> Development</a:t>
          </a:r>
          <a:endParaRPr lang="tr-TR" sz="2400" kern="1200" dirty="0">
            <a:latin typeface="Calibri" panose="020F0502020204030204" pitchFamily="34" charset="0"/>
            <a:cs typeface="Calibri" panose="020F0502020204030204" pitchFamily="34" charset="0"/>
          </a:endParaRPr>
        </a:p>
      </dsp:txBody>
      <dsp:txXfrm>
        <a:off x="28100" y="1267553"/>
        <a:ext cx="10877150" cy="519439"/>
      </dsp:txXfrm>
    </dsp:sp>
    <dsp:sp modelId="{31CC99FA-D358-4F42-95E9-213F41420953}">
      <dsp:nvSpPr>
        <dsp:cNvPr id="0" name=""/>
        <dsp:cNvSpPr/>
      </dsp:nvSpPr>
      <dsp:spPr>
        <a:xfrm>
          <a:off x="0" y="1815093"/>
          <a:ext cx="10933350"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4"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b="0" i="0" u="none" kern="1200" dirty="0" smtClean="0">
              <a:latin typeface="Calibri" panose="020F0502020204030204" pitchFamily="34" charset="0"/>
              <a:cs typeface="Calibri" panose="020F0502020204030204" pitchFamily="34" charset="0"/>
            </a:rPr>
            <a:t>The project will </a:t>
          </a:r>
          <a:r>
            <a:rPr lang="en-US" sz="1900" b="1" i="0" u="none" kern="1200" dirty="0" smtClean="0">
              <a:latin typeface="Calibri" panose="020F0502020204030204" pitchFamily="34" charset="0"/>
              <a:cs typeface="Calibri" panose="020F0502020204030204" pitchFamily="34" charset="0"/>
            </a:rPr>
            <a:t>strengthen institutional and technical capacity</a:t>
          </a:r>
          <a:r>
            <a:rPr lang="en-US" sz="1900" b="0" i="0" u="none" kern="1200" dirty="0" smtClean="0">
              <a:latin typeface="Calibri" panose="020F0502020204030204" pitchFamily="34" charset="0"/>
              <a:cs typeface="Calibri" panose="020F0502020204030204" pitchFamily="34" charset="0"/>
            </a:rPr>
            <a:t>, foster the development of national experts, and support the design and implementation of integrated climate policies.</a:t>
          </a:r>
          <a:endParaRPr lang="tr-TR" sz="1900" kern="1200" dirty="0">
            <a:latin typeface="Calibri" panose="020F0502020204030204" pitchFamily="34" charset="0"/>
            <a:cs typeface="Calibri" panose="020F0502020204030204" pitchFamily="34" charset="0"/>
          </a:endParaRPr>
        </a:p>
      </dsp:txBody>
      <dsp:txXfrm>
        <a:off x="0" y="1815093"/>
        <a:ext cx="10933350" cy="596160"/>
      </dsp:txXfrm>
    </dsp:sp>
    <dsp:sp modelId="{1419EFB5-30D8-4E9C-B0F0-6461C961480B}">
      <dsp:nvSpPr>
        <dsp:cNvPr id="0" name=""/>
        <dsp:cNvSpPr/>
      </dsp:nvSpPr>
      <dsp:spPr>
        <a:xfrm>
          <a:off x="0" y="2411253"/>
          <a:ext cx="10933350" cy="575639"/>
        </a:xfrm>
        <a:prstGeom prst="roundRect">
          <a:avLst/>
        </a:prstGeom>
        <a:solidFill>
          <a:schemeClr val="accent4">
            <a:hueOff val="2504343"/>
            <a:satOff val="-30009"/>
            <a:lumOff val="-13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kern="1200" dirty="0" smtClean="0">
              <a:latin typeface="Calibri" panose="020F0502020204030204" pitchFamily="34" charset="0"/>
              <a:cs typeface="Calibri" panose="020F0502020204030204" pitchFamily="34" charset="0"/>
            </a:rPr>
            <a:t>Integration &amp; </a:t>
          </a:r>
          <a:r>
            <a:rPr lang="tr-TR" sz="2400" kern="1200" dirty="0" err="1" smtClean="0">
              <a:latin typeface="Calibri" panose="020F0502020204030204" pitchFamily="34" charset="0"/>
              <a:cs typeface="Calibri" panose="020F0502020204030204" pitchFamily="34" charset="0"/>
            </a:rPr>
            <a:t>Co-benefits</a:t>
          </a:r>
          <a:endParaRPr lang="tr-TR" sz="2400" kern="1200" dirty="0">
            <a:latin typeface="Calibri" panose="020F0502020204030204" pitchFamily="34" charset="0"/>
            <a:cs typeface="Calibri" panose="020F0502020204030204" pitchFamily="34" charset="0"/>
          </a:endParaRPr>
        </a:p>
      </dsp:txBody>
      <dsp:txXfrm>
        <a:off x="28100" y="2439353"/>
        <a:ext cx="10877150" cy="519439"/>
      </dsp:txXfrm>
    </dsp:sp>
    <dsp:sp modelId="{13257EB0-2CD6-42F8-B595-3C2DC3AE8CA3}">
      <dsp:nvSpPr>
        <dsp:cNvPr id="0" name=""/>
        <dsp:cNvSpPr/>
      </dsp:nvSpPr>
      <dsp:spPr>
        <a:xfrm>
          <a:off x="0" y="2986893"/>
          <a:ext cx="10933350" cy="919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4"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b="0" i="0" u="none" kern="1200" dirty="0" smtClean="0">
              <a:latin typeface="Calibri" panose="020F0502020204030204" pitchFamily="34" charset="0"/>
              <a:cs typeface="Calibri" panose="020F0502020204030204" pitchFamily="34" charset="0"/>
            </a:rPr>
            <a:t>Contributes directly to NDCs, LTS, implementation tools, monitoring &amp; reporting. </a:t>
          </a:r>
          <a:endParaRPr lang="tr-TR" sz="1900" kern="1200" dirty="0">
            <a:latin typeface="Calibri" panose="020F0502020204030204" pitchFamily="34" charset="0"/>
            <a:cs typeface="Calibri" panose="020F0502020204030204" pitchFamily="34" charset="0"/>
          </a:endParaRPr>
        </a:p>
        <a:p>
          <a:pPr marL="171450" lvl="1" indent="-171450" algn="l" defTabSz="844550">
            <a:lnSpc>
              <a:spcPct val="90000"/>
            </a:lnSpc>
            <a:spcBef>
              <a:spcPct val="0"/>
            </a:spcBef>
            <a:spcAft>
              <a:spcPct val="20000"/>
            </a:spcAft>
            <a:buChar char="••"/>
          </a:pPr>
          <a:r>
            <a:rPr lang="en-US" sz="1900" b="0" i="0" u="none" kern="1200" dirty="0" smtClean="0">
              <a:latin typeface="Calibri" panose="020F0502020204030204" pitchFamily="34" charset="0"/>
              <a:cs typeface="Calibri" panose="020F0502020204030204" pitchFamily="34" charset="0"/>
            </a:rPr>
            <a:t>Beyond mitigation, it ensures adaptation, ecosystem protection, sustainable land use, and policy coherence</a:t>
          </a:r>
          <a:endParaRPr lang="tr-TR" sz="1900" kern="1200" dirty="0">
            <a:latin typeface="Calibri" panose="020F0502020204030204" pitchFamily="34" charset="0"/>
            <a:cs typeface="Calibri" panose="020F0502020204030204" pitchFamily="34" charset="0"/>
          </a:endParaRPr>
        </a:p>
      </dsp:txBody>
      <dsp:txXfrm>
        <a:off x="0" y="2986893"/>
        <a:ext cx="10933350" cy="919080"/>
      </dsp:txXfrm>
    </dsp:sp>
    <dsp:sp modelId="{E7734B0B-1073-402B-9F0E-816205C32505}">
      <dsp:nvSpPr>
        <dsp:cNvPr id="0" name=""/>
        <dsp:cNvSpPr/>
      </dsp:nvSpPr>
      <dsp:spPr>
        <a:xfrm>
          <a:off x="0" y="3905973"/>
          <a:ext cx="10933350" cy="575639"/>
        </a:xfrm>
        <a:prstGeom prst="roundRect">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kern="1200" dirty="0" smtClean="0">
              <a:latin typeface="Calibri" panose="020F0502020204030204" pitchFamily="34" charset="0"/>
              <a:cs typeface="Calibri" panose="020F0502020204030204" pitchFamily="34" charset="0"/>
            </a:rPr>
            <a:t>Paris </a:t>
          </a:r>
          <a:r>
            <a:rPr lang="tr-TR" sz="2400" kern="1200" dirty="0" err="1" smtClean="0">
              <a:latin typeface="Calibri" panose="020F0502020204030204" pitchFamily="34" charset="0"/>
              <a:cs typeface="Calibri" panose="020F0502020204030204" pitchFamily="34" charset="0"/>
            </a:rPr>
            <a:t>Agreement</a:t>
          </a:r>
          <a:r>
            <a:rPr lang="tr-TR" sz="2400" kern="1200" dirty="0" smtClean="0">
              <a:latin typeface="Calibri" panose="020F0502020204030204" pitchFamily="34" charset="0"/>
              <a:cs typeface="Calibri" panose="020F0502020204030204" pitchFamily="34" charset="0"/>
            </a:rPr>
            <a:t> &amp; CMA </a:t>
          </a:r>
          <a:r>
            <a:rPr lang="tr-TR" sz="2400" kern="1200" dirty="0" err="1" smtClean="0">
              <a:latin typeface="Calibri" panose="020F0502020204030204" pitchFamily="34" charset="0"/>
              <a:cs typeface="Calibri" panose="020F0502020204030204" pitchFamily="34" charset="0"/>
            </a:rPr>
            <a:t>Alignment</a:t>
          </a:r>
          <a:r>
            <a:rPr lang="tr-TR" sz="2400" kern="1200" dirty="0" smtClean="0">
              <a:latin typeface="Calibri" panose="020F0502020204030204" pitchFamily="34" charset="0"/>
              <a:cs typeface="Calibri" panose="020F0502020204030204" pitchFamily="34" charset="0"/>
            </a:rPr>
            <a:t> </a:t>
          </a:r>
          <a:r>
            <a:rPr lang="tr-TR" sz="2400" kern="1200" dirty="0" err="1" smtClean="0">
              <a:latin typeface="Calibri" panose="020F0502020204030204" pitchFamily="34" charset="0"/>
              <a:cs typeface="Calibri" panose="020F0502020204030204" pitchFamily="34" charset="0"/>
            </a:rPr>
            <a:t>Co-benefits</a:t>
          </a:r>
          <a:endParaRPr lang="tr-TR" sz="2400" kern="1200" dirty="0">
            <a:latin typeface="Calibri" panose="020F0502020204030204" pitchFamily="34" charset="0"/>
            <a:cs typeface="Calibri" panose="020F0502020204030204" pitchFamily="34" charset="0"/>
          </a:endParaRPr>
        </a:p>
      </dsp:txBody>
      <dsp:txXfrm>
        <a:off x="28100" y="3934073"/>
        <a:ext cx="10877150" cy="519439"/>
      </dsp:txXfrm>
    </dsp:sp>
    <dsp:sp modelId="{187B8856-6AA8-4B62-AC96-153095569F37}">
      <dsp:nvSpPr>
        <dsp:cNvPr id="0" name=""/>
        <dsp:cNvSpPr/>
      </dsp:nvSpPr>
      <dsp:spPr>
        <a:xfrm>
          <a:off x="0" y="4481613"/>
          <a:ext cx="10933350" cy="869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4"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smtClean="0">
              <a:solidFill>
                <a:schemeClr val="tx1"/>
              </a:solidFill>
            </a:rPr>
            <a:t>Fully </a:t>
          </a:r>
          <a:r>
            <a:rPr lang="en-US" sz="1900" kern="1200" dirty="0" smtClean="0">
              <a:solidFill>
                <a:schemeClr val="tx1"/>
              </a:solidFill>
              <a:latin typeface="Calibri" panose="020F0502020204030204" pitchFamily="34" charset="0"/>
              <a:cs typeface="Calibri" panose="020F0502020204030204" pitchFamily="34" charset="0"/>
            </a:rPr>
            <a:t>consistent with </a:t>
          </a:r>
          <a:r>
            <a:rPr lang="en-US" sz="1900" kern="1200" dirty="0" err="1" smtClean="0">
              <a:solidFill>
                <a:schemeClr val="tx1"/>
              </a:solidFill>
              <a:latin typeface="Calibri" panose="020F0502020204030204" pitchFamily="34" charset="0"/>
              <a:cs typeface="Calibri" panose="020F0502020204030204" pitchFamily="34" charset="0"/>
            </a:rPr>
            <a:t>Türkiye’s</a:t>
          </a:r>
          <a:r>
            <a:rPr lang="en-US" sz="1900" kern="1200" dirty="0" smtClean="0">
              <a:solidFill>
                <a:schemeClr val="tx1"/>
              </a:solidFill>
              <a:latin typeface="Calibri" panose="020F0502020204030204" pitchFamily="34" charset="0"/>
              <a:cs typeface="Calibri" panose="020F0502020204030204" pitchFamily="34" charset="0"/>
            </a:rPr>
            <a:t> commitments under Article 4.1 (long-term mitigation pathways) and Article 13.7 (</a:t>
          </a:r>
          <a:r>
            <a:rPr lang="en-US" sz="1900" kern="1200" dirty="0" smtClean="0">
              <a:latin typeface="Calibri" panose="020F0502020204030204" pitchFamily="34" charset="0"/>
              <a:cs typeface="Calibri" panose="020F0502020204030204" pitchFamily="34" charset="0"/>
            </a:rPr>
            <a:t>transparency and reporting) of the Paris Agreement, as well as CMA Decision 4/CMA.1 (NDC accounting) and Decision 18/CMA.1 (ETF reporting)</a:t>
          </a:r>
          <a:endParaRPr lang="tr-TR" sz="1900" kern="1200" dirty="0">
            <a:latin typeface="Calibri" panose="020F0502020204030204" pitchFamily="34" charset="0"/>
            <a:cs typeface="Calibri" panose="020F0502020204030204" pitchFamily="34" charset="0"/>
          </a:endParaRPr>
        </a:p>
      </dsp:txBody>
      <dsp:txXfrm>
        <a:off x="0" y="4481613"/>
        <a:ext cx="10933350" cy="8694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B42E70-05C5-4370-9482-FE8ED1DF4811}">
      <dsp:nvSpPr>
        <dsp:cNvPr id="0" name=""/>
        <dsp:cNvSpPr/>
      </dsp:nvSpPr>
      <dsp:spPr>
        <a:xfrm>
          <a:off x="49568" y="66760"/>
          <a:ext cx="3078589" cy="707190"/>
        </a:xfrm>
        <a:prstGeom prst="roundRect">
          <a:avLst>
            <a:gd name="adj" fmla="val 10000"/>
          </a:avLst>
        </a:prstGeom>
        <a:solidFill>
          <a:schemeClr val="accent6">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45720" numCol="1" spcCol="1270" anchor="t" anchorCtr="0">
          <a:noAutofit/>
        </a:bodyPr>
        <a:lstStyle/>
        <a:p>
          <a:pPr lvl="0" algn="l" defTabSz="533400">
            <a:lnSpc>
              <a:spcPct val="90000"/>
            </a:lnSpc>
            <a:spcBef>
              <a:spcPct val="0"/>
            </a:spcBef>
            <a:spcAft>
              <a:spcPct val="35000"/>
            </a:spcAft>
          </a:pPr>
          <a:r>
            <a:rPr lang="en-US" sz="1200" b="1" kern="1200" dirty="0" smtClean="0">
              <a:latin typeface="Calibri" panose="020F0502020204030204" pitchFamily="34" charset="0"/>
              <a:cs typeface="Calibri" panose="020F0502020204030204" pitchFamily="34" charset="0"/>
            </a:rPr>
            <a:t>Feasibility Assessment (</a:t>
          </a:r>
          <a:r>
            <a:rPr lang="tr-TR" sz="1200" b="1" kern="1200" dirty="0" smtClean="0">
              <a:latin typeface="Calibri" panose="020F0502020204030204" pitchFamily="34" charset="0"/>
              <a:cs typeface="Calibri" panose="020F0502020204030204" pitchFamily="34" charset="0"/>
            </a:rPr>
            <a:t>2024 - </a:t>
          </a:r>
          <a:r>
            <a:rPr lang="en-US" sz="1200" b="1" kern="1200" dirty="0" smtClean="0">
              <a:latin typeface="Calibri" panose="020F0502020204030204" pitchFamily="34" charset="0"/>
              <a:cs typeface="Calibri" panose="020F0502020204030204" pitchFamily="34" charset="0"/>
            </a:rPr>
            <a:t>2025)</a:t>
          </a:r>
          <a:r>
            <a:rPr lang="tr-TR" sz="1200" b="1" kern="1200" dirty="0" smtClean="0">
              <a:latin typeface="Calibri" panose="020F0502020204030204" pitchFamily="34" charset="0"/>
              <a:cs typeface="Calibri" panose="020F0502020204030204" pitchFamily="34" charset="0"/>
            </a:rPr>
            <a:t> </a:t>
          </a:r>
          <a:endParaRPr lang="tr-TR" sz="1200" b="1" kern="1200" dirty="0">
            <a:latin typeface="Calibri" panose="020F0502020204030204" pitchFamily="34" charset="0"/>
            <a:cs typeface="Calibri" panose="020F0502020204030204" pitchFamily="34" charset="0"/>
          </a:endParaRPr>
        </a:p>
      </dsp:txBody>
      <dsp:txXfrm>
        <a:off x="49568" y="66760"/>
        <a:ext cx="3078589" cy="471460"/>
      </dsp:txXfrm>
    </dsp:sp>
    <dsp:sp modelId="{0C777D21-7DFC-48F8-A0DE-4C6848B47923}">
      <dsp:nvSpPr>
        <dsp:cNvPr id="0" name=""/>
        <dsp:cNvSpPr/>
      </dsp:nvSpPr>
      <dsp:spPr>
        <a:xfrm>
          <a:off x="40222" y="422923"/>
          <a:ext cx="4562134" cy="4441636"/>
        </a:xfrm>
        <a:prstGeom prst="roundRect">
          <a:avLst>
            <a:gd name="adj" fmla="val 10000"/>
          </a:avLst>
        </a:prstGeom>
        <a:solidFill>
          <a:schemeClr val="dk1">
            <a:alpha val="90000"/>
            <a:tint val="40000"/>
            <a:hueOff val="0"/>
            <a:satOff val="0"/>
            <a:lumOff val="0"/>
            <a:alphaOff val="0"/>
          </a:schemeClr>
        </a:solidFill>
        <a:ln w="9525" cap="flat" cmpd="sng" algn="ctr">
          <a:noFill/>
          <a:prstDash val="solid"/>
        </a:ln>
        <a:effectLst/>
      </dsp:spPr>
      <dsp:style>
        <a:lnRef idx="1">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b="1" kern="1200" dirty="0" smtClean="0">
              <a:latin typeface="Calibri" panose="020F0502020204030204" pitchFamily="34" charset="0"/>
              <a:cs typeface="Calibri" panose="020F0502020204030204" pitchFamily="34" charset="0"/>
            </a:rPr>
            <a:t>Institutional context </a:t>
          </a:r>
          <a:r>
            <a:rPr lang="en-US" sz="1400" b="0" kern="1200" dirty="0" smtClean="0">
              <a:latin typeface="Calibri" panose="020F0502020204030204" pitchFamily="34" charset="0"/>
              <a:cs typeface="Calibri" panose="020F0502020204030204" pitchFamily="34" charset="0"/>
            </a:rPr>
            <a:t>→ The Directorate of Climate Change, as </a:t>
          </a:r>
          <a:r>
            <a:rPr lang="en-US" sz="1400" b="0" kern="1200" dirty="0" err="1" smtClean="0">
              <a:latin typeface="Calibri" panose="020F0502020204030204" pitchFamily="34" charset="0"/>
              <a:cs typeface="Calibri" panose="020F0502020204030204" pitchFamily="34" charset="0"/>
            </a:rPr>
            <a:t>Türkiye’s</a:t>
          </a:r>
          <a:r>
            <a:rPr lang="en-US" sz="1400" b="0" kern="1200" dirty="0" smtClean="0">
              <a:latin typeface="Calibri" panose="020F0502020204030204" pitchFamily="34" charset="0"/>
              <a:cs typeface="Calibri" panose="020F0502020204030204" pitchFamily="34" charset="0"/>
            </a:rPr>
            <a:t> UNFCCC National Focal Point and coordinating authority,</a:t>
          </a:r>
          <a:r>
            <a:rPr lang="en-US" sz="1400" kern="1200" dirty="0" smtClean="0">
              <a:latin typeface="Calibri" panose="020F0502020204030204" pitchFamily="34" charset="0"/>
              <a:cs typeface="Calibri" panose="020F0502020204030204" pitchFamily="34" charset="0"/>
            </a:rPr>
            <a:t> provides overall strategic guidance. While agriculture and LULUCF are under the mandate of other institutions, the Directorate identified the need to build its </a:t>
          </a:r>
          <a:r>
            <a:rPr lang="en-US" sz="1400" b="1" kern="1200" dirty="0" smtClean="0">
              <a:latin typeface="Calibri" panose="020F0502020204030204" pitchFamily="34" charset="0"/>
              <a:cs typeface="Calibri" panose="020F0502020204030204" pitchFamily="34" charset="0"/>
            </a:rPr>
            <a:t>technical expertise in the AFOLU sector</a:t>
          </a:r>
          <a:r>
            <a:rPr lang="en-US" sz="1400" kern="1200" dirty="0" smtClean="0">
              <a:latin typeface="Calibri" panose="020F0502020204030204" pitchFamily="34" charset="0"/>
              <a:cs typeface="Calibri" panose="020F0502020204030204" pitchFamily="34" charset="0"/>
            </a:rPr>
            <a:t>.</a:t>
          </a:r>
          <a:endParaRPr lang="tr-TR" sz="1400" b="0" kern="1200" dirty="0">
            <a:latin typeface="Calibri" panose="020F0502020204030204" pitchFamily="34" charset="0"/>
            <a:cs typeface="Calibri" panose="020F0502020204030204" pitchFamily="34" charset="0"/>
          </a:endParaRPr>
        </a:p>
        <a:p>
          <a:pPr marL="114300" lvl="1" indent="-114300" algn="l" defTabSz="622300">
            <a:lnSpc>
              <a:spcPct val="90000"/>
            </a:lnSpc>
            <a:spcBef>
              <a:spcPct val="0"/>
            </a:spcBef>
            <a:spcAft>
              <a:spcPct val="15000"/>
            </a:spcAft>
            <a:buChar char="••"/>
          </a:pPr>
          <a:endParaRPr lang="tr-TR" sz="1400" b="0" kern="1200" dirty="0">
            <a:latin typeface="Calibri" panose="020F0502020204030204" pitchFamily="34" charset="0"/>
            <a:cs typeface="Calibri" panose="020F0502020204030204" pitchFamily="34" charset="0"/>
          </a:endParaRPr>
        </a:p>
        <a:p>
          <a:pPr marL="114300" lvl="1" indent="-114300" algn="l" defTabSz="622300">
            <a:lnSpc>
              <a:spcPct val="90000"/>
            </a:lnSpc>
            <a:spcBef>
              <a:spcPct val="0"/>
            </a:spcBef>
            <a:spcAft>
              <a:spcPct val="15000"/>
            </a:spcAft>
            <a:buChar char="••"/>
          </a:pPr>
          <a:r>
            <a:rPr lang="en-US" sz="1400" b="1" kern="1200" dirty="0" smtClean="0">
              <a:latin typeface="Calibri" panose="020F0502020204030204" pitchFamily="34" charset="0"/>
              <a:cs typeface="Calibri" panose="020F0502020204030204" pitchFamily="34" charset="0"/>
            </a:rPr>
            <a:t>Capacity needs</a:t>
          </a:r>
          <a:r>
            <a:rPr lang="en-US" sz="1400" kern="1200" dirty="0" smtClean="0">
              <a:latin typeface="Calibri" panose="020F0502020204030204" pitchFamily="34" charset="0"/>
              <a:cs typeface="Calibri" panose="020F0502020204030204" pitchFamily="34" charset="0"/>
            </a:rPr>
            <a:t> → The importance of AFOLU in national highlighted the necessity for the Directorate to strengthen</a:t>
          </a:r>
          <a:r>
            <a:rPr lang="tr-TR" sz="1400" kern="1200" dirty="0" smtClean="0">
              <a:latin typeface="Calibri" panose="020F0502020204030204" pitchFamily="34" charset="0"/>
              <a:cs typeface="Calibri" panose="020F0502020204030204" pitchFamily="34" charset="0"/>
            </a:rPr>
            <a:t> </a:t>
          </a:r>
          <a:r>
            <a:rPr lang="en-US" sz="1400" b="0" kern="1200" dirty="0" smtClean="0">
              <a:latin typeface="Calibri" panose="020F0502020204030204" pitchFamily="34" charset="0"/>
              <a:cs typeface="Calibri" panose="020F0502020204030204" pitchFamily="34" charset="0"/>
            </a:rPr>
            <a:t>mitigation commitments </a:t>
          </a:r>
          <a:r>
            <a:rPr lang="en-US" sz="1400" kern="1200" dirty="0" smtClean="0">
              <a:latin typeface="Calibri" panose="020F0502020204030204" pitchFamily="34" charset="0"/>
              <a:cs typeface="Calibri" panose="020F0502020204030204" pitchFamily="34" charset="0"/>
            </a:rPr>
            <a:t> its role in policy formulation and strategy development.</a:t>
          </a:r>
          <a:endParaRPr lang="en-US" sz="1400" kern="1200" dirty="0">
            <a:latin typeface="Calibri" panose="020F0502020204030204" pitchFamily="34" charset="0"/>
            <a:cs typeface="Calibri" panose="020F0502020204030204" pitchFamily="34" charset="0"/>
          </a:endParaRPr>
        </a:p>
        <a:p>
          <a:pPr marL="114300" lvl="1" indent="-114300" algn="l" defTabSz="622300">
            <a:lnSpc>
              <a:spcPct val="90000"/>
            </a:lnSpc>
            <a:spcBef>
              <a:spcPct val="0"/>
            </a:spcBef>
            <a:spcAft>
              <a:spcPct val="15000"/>
            </a:spcAft>
            <a:buChar char="••"/>
          </a:pPr>
          <a:endParaRPr lang="en-US" sz="1400" kern="1200" dirty="0">
            <a:latin typeface="Calibri" panose="020F0502020204030204" pitchFamily="34" charset="0"/>
            <a:cs typeface="Calibri" panose="020F0502020204030204" pitchFamily="34" charset="0"/>
          </a:endParaRPr>
        </a:p>
        <a:p>
          <a:pPr marL="114300" lvl="1" indent="-114300" algn="l" defTabSz="622300">
            <a:lnSpc>
              <a:spcPct val="90000"/>
            </a:lnSpc>
            <a:spcBef>
              <a:spcPct val="0"/>
            </a:spcBef>
            <a:spcAft>
              <a:spcPct val="15000"/>
            </a:spcAft>
            <a:buChar char="••"/>
          </a:pPr>
          <a:r>
            <a:rPr lang="en-US" sz="1400" b="1" kern="1200" dirty="0" smtClean="0">
              <a:latin typeface="Calibri" panose="020F0502020204030204" pitchFamily="34" charset="0"/>
              <a:cs typeface="Calibri" panose="020F0502020204030204" pitchFamily="34" charset="0"/>
            </a:rPr>
            <a:t>Policy relevance</a:t>
          </a:r>
          <a:r>
            <a:rPr lang="en-US" sz="1400" kern="1200" dirty="0" smtClean="0">
              <a:latin typeface="Calibri" panose="020F0502020204030204" pitchFamily="34" charset="0"/>
              <a:cs typeface="Calibri" panose="020F0502020204030204" pitchFamily="34" charset="0"/>
            </a:rPr>
            <a:t> → Given </a:t>
          </a:r>
          <a:r>
            <a:rPr lang="en-US" sz="1400" b="1" kern="1200" dirty="0" err="1" smtClean="0">
              <a:latin typeface="Calibri" panose="020F0502020204030204" pitchFamily="34" charset="0"/>
              <a:cs typeface="Calibri" panose="020F0502020204030204" pitchFamily="34" charset="0"/>
            </a:rPr>
            <a:t>Türkiye’s</a:t>
          </a:r>
          <a:r>
            <a:rPr lang="en-US" sz="1400" b="1" kern="1200" dirty="0" smtClean="0">
              <a:latin typeface="Calibri" panose="020F0502020204030204" pitchFamily="34" charset="0"/>
              <a:cs typeface="Calibri" panose="020F0502020204030204" pitchFamily="34" charset="0"/>
            </a:rPr>
            <a:t> high vulnerability to climate change</a:t>
          </a:r>
          <a:r>
            <a:rPr lang="en-US" sz="1400" kern="1200" dirty="0" smtClean="0">
              <a:latin typeface="Calibri" panose="020F0502020204030204" pitchFamily="34" charset="0"/>
              <a:cs typeface="Calibri" panose="020F0502020204030204" pitchFamily="34" charset="0"/>
            </a:rPr>
            <a:t>, the feasibility phase confirmed the need for </a:t>
          </a:r>
          <a:r>
            <a:rPr lang="en-US" sz="1400" b="0" kern="1200" dirty="0" smtClean="0">
              <a:latin typeface="Calibri" panose="020F0502020204030204" pitchFamily="34" charset="0"/>
              <a:cs typeface="Calibri" panose="020F0502020204030204" pitchFamily="34" charset="0"/>
            </a:rPr>
            <a:t>robust and coherent AFOLU policies </a:t>
          </a:r>
          <a:r>
            <a:rPr lang="en-US" sz="1400" kern="1200" dirty="0" smtClean="0">
              <a:latin typeface="Calibri" panose="020F0502020204030204" pitchFamily="34" charset="0"/>
              <a:cs typeface="Calibri" panose="020F0502020204030204" pitchFamily="34" charset="0"/>
            </a:rPr>
            <a:t>as a cornerstone of national climate action.</a:t>
          </a:r>
          <a:endParaRPr lang="en-US" sz="1400" kern="1200" dirty="0">
            <a:latin typeface="Calibri" panose="020F0502020204030204" pitchFamily="34" charset="0"/>
            <a:cs typeface="Calibri" panose="020F0502020204030204" pitchFamily="34" charset="0"/>
          </a:endParaRPr>
        </a:p>
      </dsp:txBody>
      <dsp:txXfrm>
        <a:off x="170313" y="553014"/>
        <a:ext cx="4301952" cy="4181454"/>
      </dsp:txXfrm>
    </dsp:sp>
    <dsp:sp modelId="{D1D811C5-F07B-4C8D-B6D1-D2630F279CA2}">
      <dsp:nvSpPr>
        <dsp:cNvPr id="0" name=""/>
        <dsp:cNvSpPr/>
      </dsp:nvSpPr>
      <dsp:spPr>
        <a:xfrm rot="15901">
          <a:off x="4416971" y="167376"/>
          <a:ext cx="1944386" cy="284162"/>
        </a:xfrm>
        <a:prstGeom prst="rightArrow">
          <a:avLst/>
        </a:prstGeom>
        <a:solidFill>
          <a:schemeClr val="accent6">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tr-TR" sz="400" kern="1200"/>
        </a:p>
      </dsp:txBody>
      <dsp:txXfrm>
        <a:off x="4416971" y="224011"/>
        <a:ext cx="1859137" cy="170498"/>
      </dsp:txXfrm>
    </dsp:sp>
    <dsp:sp modelId="{5DFA7EA9-5A7B-4D1B-A0B5-808368D9F4ED}">
      <dsp:nvSpPr>
        <dsp:cNvPr id="0" name=""/>
        <dsp:cNvSpPr/>
      </dsp:nvSpPr>
      <dsp:spPr>
        <a:xfrm>
          <a:off x="7567160" y="102989"/>
          <a:ext cx="3708018" cy="707190"/>
        </a:xfrm>
        <a:prstGeom prst="roundRect">
          <a:avLst>
            <a:gd name="adj" fmla="val 10000"/>
          </a:avLst>
        </a:prstGeom>
        <a:solidFill>
          <a:schemeClr val="accent6">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45720" numCol="1" spcCol="1270" anchor="t" anchorCtr="0">
          <a:noAutofit/>
        </a:bodyPr>
        <a:lstStyle/>
        <a:p>
          <a:pPr lvl="0" algn="l" defTabSz="533400">
            <a:lnSpc>
              <a:spcPct val="90000"/>
            </a:lnSpc>
            <a:spcBef>
              <a:spcPct val="0"/>
            </a:spcBef>
            <a:spcAft>
              <a:spcPct val="35000"/>
            </a:spcAft>
          </a:pPr>
          <a:r>
            <a:rPr lang="en-US" sz="1200" b="1" kern="1200" dirty="0" smtClean="0">
              <a:latin typeface="Calibri" panose="020F0502020204030204" pitchFamily="34" charset="0"/>
              <a:cs typeface="Calibri" panose="020F0502020204030204" pitchFamily="34" charset="0"/>
            </a:rPr>
            <a:t>Project Design (2024–2025)</a:t>
          </a:r>
          <a:endParaRPr lang="tr-TR" sz="1200" b="1" kern="1200" dirty="0">
            <a:latin typeface="Calibri" panose="020F0502020204030204" pitchFamily="34" charset="0"/>
            <a:cs typeface="Calibri" panose="020F0502020204030204" pitchFamily="34" charset="0"/>
          </a:endParaRPr>
        </a:p>
      </dsp:txBody>
      <dsp:txXfrm>
        <a:off x="7567160" y="102989"/>
        <a:ext cx="3708018" cy="471460"/>
      </dsp:txXfrm>
    </dsp:sp>
    <dsp:sp modelId="{33315431-036E-45B3-819E-DB8AF7C92C71}">
      <dsp:nvSpPr>
        <dsp:cNvPr id="0" name=""/>
        <dsp:cNvSpPr/>
      </dsp:nvSpPr>
      <dsp:spPr>
        <a:xfrm>
          <a:off x="5334783" y="499853"/>
          <a:ext cx="5957180" cy="4371295"/>
        </a:xfrm>
        <a:prstGeom prst="roundRect">
          <a:avLst>
            <a:gd name="adj" fmla="val 10000"/>
          </a:avLst>
        </a:prstGeom>
        <a:solidFill>
          <a:schemeClr val="dk1">
            <a:alpha val="90000"/>
            <a:tint val="40000"/>
            <a:hueOff val="0"/>
            <a:satOff val="0"/>
            <a:lumOff val="0"/>
            <a:alphaOff val="0"/>
          </a:schemeClr>
        </a:solidFill>
        <a:ln w="9525" cap="flat" cmpd="sng" algn="ctr">
          <a:noFill/>
          <a:prstDash val="solid"/>
        </a:ln>
        <a:effectLst/>
      </dsp:spPr>
      <dsp:style>
        <a:lnRef idx="1">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US" sz="1300" b="1" kern="1200" dirty="0" smtClean="0">
              <a:latin typeface="Calibri" panose="020F0502020204030204" pitchFamily="34" charset="0"/>
              <a:cs typeface="Calibri" panose="020F0502020204030204" pitchFamily="34" charset="0"/>
            </a:rPr>
            <a:t>Conceptual foundation</a:t>
          </a:r>
          <a:r>
            <a:rPr lang="en-US" sz="1300" kern="1200" dirty="0" smtClean="0">
              <a:latin typeface="Calibri" panose="020F0502020204030204" pitchFamily="34" charset="0"/>
              <a:cs typeface="Calibri" panose="020F0502020204030204" pitchFamily="34" charset="0"/>
            </a:rPr>
            <a:t> → The project was designed after the </a:t>
          </a:r>
          <a:r>
            <a:rPr lang="en-US" sz="1300" b="1" kern="1200" dirty="0" smtClean="0">
              <a:latin typeface="Calibri" panose="020F0502020204030204" pitchFamily="34" charset="0"/>
              <a:cs typeface="Calibri" panose="020F0502020204030204" pitchFamily="34" charset="0"/>
            </a:rPr>
            <a:t>1st NDC</a:t>
          </a:r>
          <a:r>
            <a:rPr lang="en-US" sz="1300" kern="1200" dirty="0" smtClean="0">
              <a:latin typeface="Calibri" panose="020F0502020204030204" pitchFamily="34" charset="0"/>
              <a:cs typeface="Calibri" panose="020F0502020204030204" pitchFamily="34" charset="0"/>
            </a:rPr>
            <a:t>, the </a:t>
          </a:r>
          <a:r>
            <a:rPr lang="en-US" sz="1300" b="1" kern="1200" dirty="0" smtClean="0">
              <a:latin typeface="Calibri" panose="020F0502020204030204" pitchFamily="34" charset="0"/>
              <a:cs typeface="Calibri" panose="020F0502020204030204" pitchFamily="34" charset="0"/>
            </a:rPr>
            <a:t>LTS</a:t>
          </a:r>
          <a:r>
            <a:rPr lang="en-US" sz="1300" kern="1200" dirty="0" smtClean="0">
              <a:latin typeface="Calibri" panose="020F0502020204030204" pitchFamily="34" charset="0"/>
              <a:cs typeface="Calibri" panose="020F0502020204030204" pitchFamily="34" charset="0"/>
            </a:rPr>
            <a:t> and </a:t>
          </a:r>
          <a:r>
            <a:rPr lang="en-US" sz="1300" b="1" kern="1200" dirty="0" smtClean="0">
              <a:latin typeface="Calibri" panose="020F0502020204030204" pitchFamily="34" charset="0"/>
              <a:cs typeface="Calibri" panose="020F0502020204030204" pitchFamily="34" charset="0"/>
            </a:rPr>
            <a:t>Mitigation Action Plan</a:t>
          </a:r>
          <a:r>
            <a:rPr lang="en-US" sz="1300" kern="1200" dirty="0" smtClean="0">
              <a:latin typeface="Calibri" panose="020F0502020204030204" pitchFamily="34" charset="0"/>
              <a:cs typeface="Calibri" panose="020F0502020204030204" pitchFamily="34" charset="0"/>
            </a:rPr>
            <a:t>, and within the framework of the </a:t>
          </a:r>
          <a:r>
            <a:rPr lang="en-US" sz="1300" b="1" kern="1200" dirty="0" smtClean="0">
              <a:latin typeface="Calibri" panose="020F0502020204030204" pitchFamily="34" charset="0"/>
              <a:cs typeface="Calibri" panose="020F0502020204030204" pitchFamily="34" charset="0"/>
            </a:rPr>
            <a:t>2nd NDC</a:t>
          </a:r>
          <a:r>
            <a:rPr lang="tr-TR" sz="1300" b="1" kern="1200" dirty="0" smtClean="0">
              <a:latin typeface="Calibri" panose="020F0502020204030204" pitchFamily="34" charset="0"/>
              <a:cs typeface="Calibri" panose="020F0502020204030204" pitchFamily="34" charset="0"/>
            </a:rPr>
            <a:t> </a:t>
          </a:r>
          <a:r>
            <a:rPr lang="en-US" sz="1300" b="1" kern="1200" dirty="0" smtClean="0">
              <a:latin typeface="Calibri" panose="020F0502020204030204" pitchFamily="34" charset="0"/>
              <a:cs typeface="Calibri" panose="020F0502020204030204" pitchFamily="34" charset="0"/>
            </a:rPr>
            <a:t>preparation (2025)</a:t>
          </a:r>
          <a:r>
            <a:rPr lang="en-US" sz="1300" kern="1200" dirty="0" smtClean="0">
              <a:latin typeface="Calibri" panose="020F0502020204030204" pitchFamily="34" charset="0"/>
              <a:cs typeface="Calibri" panose="020F0502020204030204" pitchFamily="34" charset="0"/>
            </a:rPr>
            <a:t>. It directly responds to the call for more ambitious action by developing </a:t>
          </a:r>
          <a:r>
            <a:rPr lang="en-US" sz="1300" b="1" kern="1200" dirty="0" smtClean="0">
              <a:latin typeface="Calibri" panose="020F0502020204030204" pitchFamily="34" charset="0"/>
              <a:cs typeface="Calibri" panose="020F0502020204030204" pitchFamily="34" charset="0"/>
            </a:rPr>
            <a:t>stronger policy frameworks</a:t>
          </a:r>
          <a:r>
            <a:rPr lang="en-US" sz="1300" kern="1200" dirty="0" smtClean="0">
              <a:latin typeface="Calibri" panose="020F0502020204030204" pitchFamily="34" charset="0"/>
              <a:cs typeface="Calibri" panose="020F0502020204030204" pitchFamily="34" charset="0"/>
            </a:rPr>
            <a:t> and by fully assessing the </a:t>
          </a:r>
          <a:r>
            <a:rPr lang="en-US" sz="1300" b="1" kern="1200" dirty="0" smtClean="0">
              <a:latin typeface="Calibri" panose="020F0502020204030204" pitchFamily="34" charset="0"/>
              <a:cs typeface="Calibri" panose="020F0502020204030204" pitchFamily="34" charset="0"/>
            </a:rPr>
            <a:t>carbon sink capacity and mitigation potential</a:t>
          </a:r>
          <a:r>
            <a:rPr lang="en-US" sz="1300" kern="1200" dirty="0" smtClean="0">
              <a:latin typeface="Calibri" panose="020F0502020204030204" pitchFamily="34" charset="0"/>
              <a:cs typeface="Calibri" panose="020F0502020204030204" pitchFamily="34" charset="0"/>
            </a:rPr>
            <a:t> of agriculture and forestry.</a:t>
          </a:r>
          <a:endParaRPr lang="tr-TR" sz="1300" kern="1200" dirty="0">
            <a:latin typeface="Calibri" panose="020F0502020204030204" pitchFamily="34" charset="0"/>
            <a:cs typeface="Calibri" panose="020F0502020204030204" pitchFamily="34" charset="0"/>
          </a:endParaRPr>
        </a:p>
        <a:p>
          <a:pPr marL="114300" lvl="1" indent="-114300" algn="l" defTabSz="577850">
            <a:lnSpc>
              <a:spcPct val="90000"/>
            </a:lnSpc>
            <a:spcBef>
              <a:spcPct val="0"/>
            </a:spcBef>
            <a:spcAft>
              <a:spcPct val="15000"/>
            </a:spcAft>
            <a:buChar char="••"/>
          </a:pPr>
          <a:endParaRPr lang="tr-TR" sz="1300" kern="1200" dirty="0">
            <a:latin typeface="Calibri" panose="020F0502020204030204" pitchFamily="34" charset="0"/>
            <a:cs typeface="Calibri" panose="020F0502020204030204" pitchFamily="34" charset="0"/>
          </a:endParaRPr>
        </a:p>
        <a:p>
          <a:pPr marL="114300" lvl="1" indent="-114300" algn="l" defTabSz="577850">
            <a:lnSpc>
              <a:spcPct val="90000"/>
            </a:lnSpc>
            <a:spcBef>
              <a:spcPct val="0"/>
            </a:spcBef>
            <a:spcAft>
              <a:spcPct val="15000"/>
            </a:spcAft>
            <a:buChar char="••"/>
          </a:pPr>
          <a:r>
            <a:rPr lang="en-US" sz="1300" b="1" kern="1200" dirty="0" smtClean="0">
              <a:latin typeface="Calibri" panose="020F0502020204030204" pitchFamily="34" charset="0"/>
              <a:cs typeface="Calibri" panose="020F0502020204030204" pitchFamily="34" charset="0"/>
            </a:rPr>
            <a:t>Integration of findings</a:t>
          </a:r>
          <a:r>
            <a:rPr lang="en-US" sz="1300" kern="1200" dirty="0" smtClean="0">
              <a:latin typeface="Calibri" panose="020F0502020204030204" pitchFamily="34" charset="0"/>
              <a:cs typeface="Calibri" panose="020F0502020204030204" pitchFamily="34" charset="0"/>
            </a:rPr>
            <a:t> → The design incorporated the results of the feasibility stage, addressing </a:t>
          </a:r>
          <a:r>
            <a:rPr lang="en-US" sz="1300" b="1" kern="1200" dirty="0" smtClean="0">
              <a:latin typeface="Calibri" panose="020F0502020204030204" pitchFamily="34" charset="0"/>
              <a:cs typeface="Calibri" panose="020F0502020204030204" pitchFamily="34" charset="0"/>
            </a:rPr>
            <a:t>institutional and technical capacity gaps</a:t>
          </a:r>
          <a:r>
            <a:rPr lang="en-US" sz="1300" kern="1200" dirty="0" smtClean="0">
              <a:latin typeface="Calibri" panose="020F0502020204030204" pitchFamily="34" charset="0"/>
              <a:cs typeface="Calibri" panose="020F0502020204030204" pitchFamily="34" charset="0"/>
            </a:rPr>
            <a:t> in the AFOLU sector.</a:t>
          </a:r>
          <a:endParaRPr lang="en-US" sz="1300" kern="1200" dirty="0">
            <a:latin typeface="Calibri" panose="020F0502020204030204" pitchFamily="34" charset="0"/>
            <a:cs typeface="Calibri" panose="020F0502020204030204" pitchFamily="34" charset="0"/>
          </a:endParaRPr>
        </a:p>
        <a:p>
          <a:pPr marL="114300" lvl="1" indent="-114300" algn="l" defTabSz="577850">
            <a:lnSpc>
              <a:spcPct val="90000"/>
            </a:lnSpc>
            <a:spcBef>
              <a:spcPct val="0"/>
            </a:spcBef>
            <a:spcAft>
              <a:spcPct val="15000"/>
            </a:spcAft>
            <a:buChar char="••"/>
          </a:pPr>
          <a:endParaRPr lang="en-US" sz="1300" kern="1200" dirty="0">
            <a:latin typeface="Calibri" panose="020F0502020204030204" pitchFamily="34" charset="0"/>
            <a:cs typeface="Calibri" panose="020F0502020204030204" pitchFamily="34" charset="0"/>
          </a:endParaRPr>
        </a:p>
        <a:p>
          <a:pPr marL="114300" lvl="1" indent="-114300" algn="l" defTabSz="577850">
            <a:lnSpc>
              <a:spcPct val="90000"/>
            </a:lnSpc>
            <a:spcBef>
              <a:spcPct val="0"/>
            </a:spcBef>
            <a:spcAft>
              <a:spcPct val="15000"/>
            </a:spcAft>
            <a:buChar char="••"/>
          </a:pPr>
          <a:r>
            <a:rPr lang="en-US" sz="1300" b="1" kern="1200" dirty="0" smtClean="0">
              <a:latin typeface="Calibri" panose="020F0502020204030204" pitchFamily="34" charset="0"/>
              <a:cs typeface="Calibri" panose="020F0502020204030204" pitchFamily="34" charset="0"/>
            </a:rPr>
            <a:t>Institutional scope</a:t>
          </a:r>
          <a:r>
            <a:rPr lang="en-US" sz="1300" kern="1200" dirty="0" smtClean="0">
              <a:latin typeface="Calibri" panose="020F0502020204030204" pitchFamily="34" charset="0"/>
              <a:cs typeface="Calibri" panose="020F0502020204030204" pitchFamily="34" charset="0"/>
            </a:rPr>
            <a:t> → The project was developed strictly within the </a:t>
          </a:r>
          <a:r>
            <a:rPr lang="en-US" sz="1300" b="1" kern="1200" dirty="0" smtClean="0">
              <a:latin typeface="Calibri" panose="020F0502020204030204" pitchFamily="34" charset="0"/>
              <a:cs typeface="Calibri" panose="020F0502020204030204" pitchFamily="34" charset="0"/>
            </a:rPr>
            <a:t>institutional mandate of the Directorate of Climate Change</a:t>
          </a:r>
          <a:r>
            <a:rPr lang="en-US" sz="1300" kern="1200" dirty="0" smtClean="0">
              <a:latin typeface="Calibri" panose="020F0502020204030204" pitchFamily="34" charset="0"/>
              <a:cs typeface="Calibri" panose="020F0502020204030204" pitchFamily="34" charset="0"/>
            </a:rPr>
            <a:t>, without overlapping with the statutory responsibilities of other institutions.</a:t>
          </a:r>
          <a:endParaRPr lang="en-US" sz="1300" kern="1200" dirty="0">
            <a:latin typeface="Calibri" panose="020F0502020204030204" pitchFamily="34" charset="0"/>
            <a:cs typeface="Calibri" panose="020F0502020204030204" pitchFamily="34" charset="0"/>
          </a:endParaRPr>
        </a:p>
        <a:p>
          <a:pPr marL="114300" lvl="1" indent="-114300" algn="l" defTabSz="577850">
            <a:lnSpc>
              <a:spcPct val="90000"/>
            </a:lnSpc>
            <a:spcBef>
              <a:spcPct val="0"/>
            </a:spcBef>
            <a:spcAft>
              <a:spcPct val="15000"/>
            </a:spcAft>
            <a:buChar char="••"/>
          </a:pPr>
          <a:endParaRPr lang="en-US" sz="1300" kern="1200" dirty="0">
            <a:latin typeface="Calibri" panose="020F0502020204030204" pitchFamily="34" charset="0"/>
            <a:cs typeface="Calibri" panose="020F0502020204030204" pitchFamily="34" charset="0"/>
          </a:endParaRPr>
        </a:p>
        <a:p>
          <a:pPr marL="114300" lvl="1" indent="-114300" algn="l" defTabSz="577850">
            <a:lnSpc>
              <a:spcPct val="90000"/>
            </a:lnSpc>
            <a:spcBef>
              <a:spcPct val="0"/>
            </a:spcBef>
            <a:spcAft>
              <a:spcPct val="15000"/>
            </a:spcAft>
            <a:buChar char="••"/>
          </a:pPr>
          <a:r>
            <a:rPr lang="en-US" sz="1300" b="1" kern="1200" dirty="0" smtClean="0">
              <a:latin typeface="Calibri" panose="020F0502020204030204" pitchFamily="34" charset="0"/>
              <a:cs typeface="Calibri" panose="020F0502020204030204" pitchFamily="34" charset="0"/>
            </a:rPr>
            <a:t>Financial reference</a:t>
          </a:r>
          <a:r>
            <a:rPr lang="en-US" sz="1300" kern="1200" dirty="0" smtClean="0">
              <a:latin typeface="Calibri" panose="020F0502020204030204" pitchFamily="34" charset="0"/>
              <a:cs typeface="Calibri" panose="020F0502020204030204" pitchFamily="34" charset="0"/>
            </a:rPr>
            <a:t> → Budgetary analysis benefited from the </a:t>
          </a:r>
          <a:r>
            <a:rPr lang="en-US" sz="1300" b="1" kern="1200" dirty="0" smtClean="0">
              <a:latin typeface="Calibri" panose="020F0502020204030204" pitchFamily="34" charset="0"/>
              <a:cs typeface="Calibri" panose="020F0502020204030204" pitchFamily="34" charset="0"/>
            </a:rPr>
            <a:t>EU-funded LULUCF Technical Capacity Development Project</a:t>
          </a:r>
          <a:r>
            <a:rPr lang="en-US" sz="1300" kern="1200" dirty="0" smtClean="0">
              <a:latin typeface="Calibri" panose="020F0502020204030204" pitchFamily="34" charset="0"/>
              <a:cs typeface="Calibri" panose="020F0502020204030204" pitchFamily="34" charset="0"/>
            </a:rPr>
            <a:t>, coordinated by the Directorate, which provided a practical benchmark for financial structuring.</a:t>
          </a:r>
          <a:endParaRPr lang="en-US" sz="1300" kern="1200" dirty="0">
            <a:latin typeface="Calibri" panose="020F0502020204030204" pitchFamily="34" charset="0"/>
            <a:cs typeface="Calibri" panose="020F0502020204030204" pitchFamily="34" charset="0"/>
          </a:endParaRPr>
        </a:p>
        <a:p>
          <a:pPr marL="114300" lvl="1" indent="-114300" algn="l" defTabSz="577850">
            <a:lnSpc>
              <a:spcPct val="90000"/>
            </a:lnSpc>
            <a:spcBef>
              <a:spcPct val="0"/>
            </a:spcBef>
            <a:spcAft>
              <a:spcPct val="15000"/>
            </a:spcAft>
            <a:buChar char="••"/>
          </a:pPr>
          <a:endParaRPr lang="en-US" sz="1300" kern="1200" dirty="0">
            <a:latin typeface="Calibri" panose="020F0502020204030204" pitchFamily="34" charset="0"/>
            <a:cs typeface="Calibri" panose="020F0502020204030204" pitchFamily="34" charset="0"/>
          </a:endParaRPr>
        </a:p>
        <a:p>
          <a:pPr marL="114300" lvl="1" indent="-114300" algn="l" defTabSz="577850">
            <a:lnSpc>
              <a:spcPct val="90000"/>
            </a:lnSpc>
            <a:spcBef>
              <a:spcPct val="0"/>
            </a:spcBef>
            <a:spcAft>
              <a:spcPct val="15000"/>
            </a:spcAft>
            <a:buChar char="••"/>
          </a:pPr>
          <a:r>
            <a:rPr lang="en-US" sz="1300" b="1" kern="1200" dirty="0" smtClean="0">
              <a:latin typeface="Calibri" panose="020F0502020204030204" pitchFamily="34" charset="0"/>
              <a:cs typeface="Calibri" panose="020F0502020204030204" pitchFamily="34" charset="0"/>
            </a:rPr>
            <a:t>Strategic alignment</a:t>
          </a:r>
          <a:r>
            <a:rPr lang="en-US" sz="1300" kern="1200" dirty="0" smtClean="0">
              <a:latin typeface="Calibri" panose="020F0502020204030204" pitchFamily="34" charset="0"/>
              <a:cs typeface="Calibri" panose="020F0502020204030204" pitchFamily="34" charset="0"/>
            </a:rPr>
            <a:t> → The project is fully consistent with </a:t>
          </a:r>
          <a:r>
            <a:rPr lang="en-US" sz="1300" kern="1200" dirty="0" err="1" smtClean="0">
              <a:latin typeface="Calibri" panose="020F0502020204030204" pitchFamily="34" charset="0"/>
              <a:cs typeface="Calibri" panose="020F0502020204030204" pitchFamily="34" charset="0"/>
            </a:rPr>
            <a:t>Türkiye’s</a:t>
          </a:r>
          <a:r>
            <a:rPr lang="en-US" sz="1300" kern="1200" dirty="0" smtClean="0">
              <a:latin typeface="Calibri" panose="020F0502020204030204" pitchFamily="34" charset="0"/>
              <a:cs typeface="Calibri" panose="020F0502020204030204" pitchFamily="34" charset="0"/>
            </a:rPr>
            <a:t> </a:t>
          </a:r>
          <a:r>
            <a:rPr lang="en-US" sz="1300" b="1" kern="1200" dirty="0" smtClean="0">
              <a:latin typeface="Calibri" panose="020F0502020204030204" pitchFamily="34" charset="0"/>
              <a:cs typeface="Calibri" panose="020F0502020204030204" pitchFamily="34" charset="0"/>
            </a:rPr>
            <a:t>NDCs, LTS, and </a:t>
          </a:r>
          <a:r>
            <a:rPr lang="tr-TR" sz="1300" b="1" kern="1200" dirty="0" err="1" smtClean="0">
              <a:latin typeface="Calibri" panose="020F0502020204030204" pitchFamily="34" charset="0"/>
              <a:cs typeface="Calibri" panose="020F0502020204030204" pitchFamily="34" charset="0"/>
            </a:rPr>
            <a:t>action</a:t>
          </a:r>
          <a:r>
            <a:rPr lang="tr-TR" sz="1300" b="1" kern="1200" dirty="0" smtClean="0">
              <a:latin typeface="Calibri" panose="020F0502020204030204" pitchFamily="34" charset="0"/>
              <a:cs typeface="Calibri" panose="020F0502020204030204" pitchFamily="34" charset="0"/>
            </a:rPr>
            <a:t> plan</a:t>
          </a:r>
          <a:r>
            <a:rPr lang="en-US" sz="1300" kern="1200" dirty="0" smtClean="0">
              <a:latin typeface="Calibri" panose="020F0502020204030204" pitchFamily="34" charset="0"/>
              <a:cs typeface="Calibri" panose="020F0502020204030204" pitchFamily="34" charset="0"/>
            </a:rPr>
            <a:t>, ensuring systematic integration of AFOLU into national climate policy frameworks.</a:t>
          </a:r>
          <a:endParaRPr lang="en-US" sz="1300" kern="1200" dirty="0">
            <a:latin typeface="Calibri" panose="020F0502020204030204" pitchFamily="34" charset="0"/>
            <a:cs typeface="Calibri" panose="020F0502020204030204" pitchFamily="34" charset="0"/>
          </a:endParaRPr>
        </a:p>
      </dsp:txBody>
      <dsp:txXfrm>
        <a:off x="5462814" y="627884"/>
        <a:ext cx="5701118" cy="41152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599041-C1C8-4A4E-991D-5EAE3DEB0D6C}">
      <dsp:nvSpPr>
        <dsp:cNvPr id="0" name=""/>
        <dsp:cNvSpPr/>
      </dsp:nvSpPr>
      <dsp:spPr>
        <a:xfrm>
          <a:off x="0" y="0"/>
          <a:ext cx="525503" cy="525503"/>
        </a:xfrm>
        <a:prstGeom prst="ellipse">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8963F0E-D2CF-4B80-9D77-8402DEF80E0F}">
      <dsp:nvSpPr>
        <dsp:cNvPr id="0" name=""/>
        <dsp:cNvSpPr/>
      </dsp:nvSpPr>
      <dsp:spPr>
        <a:xfrm>
          <a:off x="55186" y="52550"/>
          <a:ext cx="420402" cy="420402"/>
        </a:xfrm>
        <a:prstGeom prst="chord">
          <a:avLst>
            <a:gd name="adj1" fmla="val 2332194"/>
            <a:gd name="adj2" fmla="val 8587806"/>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91505B-F7E8-4AAB-933F-FF0EF4BBAB6E}">
      <dsp:nvSpPr>
        <dsp:cNvPr id="0" name=""/>
        <dsp:cNvSpPr/>
      </dsp:nvSpPr>
      <dsp:spPr>
        <a:xfrm>
          <a:off x="637619" y="0"/>
          <a:ext cx="1554613" cy="525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b" anchorCtr="0">
          <a:noAutofit/>
        </a:bodyPr>
        <a:lstStyle/>
        <a:p>
          <a:pPr lvl="0" algn="l" defTabSz="711200">
            <a:lnSpc>
              <a:spcPct val="90000"/>
            </a:lnSpc>
            <a:spcBef>
              <a:spcPct val="0"/>
            </a:spcBef>
            <a:spcAft>
              <a:spcPct val="35000"/>
            </a:spcAft>
          </a:pPr>
          <a:r>
            <a:rPr lang="tr-TR" sz="1600" b="1" kern="1200" dirty="0" err="1" smtClean="0">
              <a:latin typeface="Calibri" panose="020F0502020204030204" pitchFamily="34" charset="0"/>
              <a:cs typeface="Calibri" panose="020F0502020204030204" pitchFamily="34" charset="0"/>
            </a:rPr>
            <a:t>Pre</a:t>
          </a:r>
          <a:r>
            <a:rPr lang="tr-TR" sz="1600" b="1" kern="1200" dirty="0" smtClean="0">
              <a:latin typeface="Calibri" panose="020F0502020204030204" pitchFamily="34" charset="0"/>
              <a:cs typeface="Calibri" panose="020F0502020204030204" pitchFamily="34" charset="0"/>
            </a:rPr>
            <a:t>-Project </a:t>
          </a:r>
          <a:r>
            <a:rPr lang="tr-TR" sz="1600" b="1" kern="1200" dirty="0" err="1" smtClean="0">
              <a:latin typeface="Calibri" panose="020F0502020204030204" pitchFamily="34" charset="0"/>
              <a:cs typeface="Calibri" panose="020F0502020204030204" pitchFamily="34" charset="0"/>
            </a:rPr>
            <a:t>Phase</a:t>
          </a:r>
          <a:endParaRPr lang="tr-TR" sz="1600" b="1" kern="1200" dirty="0" smtClean="0">
            <a:latin typeface="Calibri" panose="020F0502020204030204" pitchFamily="34" charset="0"/>
            <a:cs typeface="Calibri" panose="020F0502020204030204" pitchFamily="34" charset="0"/>
          </a:endParaRP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Finalization of </a:t>
          </a:r>
          <a:r>
            <a:rPr lang="en-US" sz="1600" kern="1200" dirty="0" err="1" smtClean="0">
              <a:latin typeface="Calibri" panose="020F0502020204030204" pitchFamily="34" charset="0"/>
              <a:cs typeface="Calibri" panose="020F0502020204030204" pitchFamily="34" charset="0"/>
            </a:rPr>
            <a:t>Türkiye’s</a:t>
          </a:r>
          <a:r>
            <a:rPr lang="en-US" sz="1600" kern="1200" dirty="0" smtClean="0">
              <a:latin typeface="Calibri" panose="020F0502020204030204" pitchFamily="34" charset="0"/>
              <a:cs typeface="Calibri" panose="020F0502020204030204" pitchFamily="34" charset="0"/>
            </a:rPr>
            <a:t> </a:t>
          </a:r>
          <a:r>
            <a:rPr lang="en-US" sz="1600" b="1" kern="1200" dirty="0" smtClean="0">
              <a:latin typeface="Calibri" panose="020F0502020204030204" pitchFamily="34" charset="0"/>
              <a:cs typeface="Calibri" panose="020F0502020204030204" pitchFamily="34" charset="0"/>
            </a:rPr>
            <a:t>LTS and Action Plan</a:t>
          </a:r>
          <a:endParaRPr lang="en-US" sz="1600" kern="1200" dirty="0" smtClean="0">
            <a:latin typeface="Calibri" panose="020F0502020204030204" pitchFamily="34" charset="0"/>
            <a:cs typeface="Calibri" panose="020F0502020204030204" pitchFamily="34" charset="0"/>
          </a:endParaRP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Project concept identified as a </a:t>
          </a:r>
          <a:r>
            <a:rPr lang="en-US" sz="1600" b="1" kern="1200" dirty="0" smtClean="0">
              <a:latin typeface="Calibri" panose="020F0502020204030204" pitchFamily="34" charset="0"/>
              <a:cs typeface="Calibri" panose="020F0502020204030204" pitchFamily="34" charset="0"/>
            </a:rPr>
            <a:t>strategic tool</a:t>
          </a:r>
          <a:r>
            <a:rPr lang="en-US" sz="1600" kern="1200" dirty="0" smtClean="0">
              <a:latin typeface="Calibri" panose="020F0502020204030204" pitchFamily="34" charset="0"/>
              <a:cs typeface="Calibri" panose="020F0502020204030204" pitchFamily="34" charset="0"/>
            </a:rPr>
            <a:t> to strengthen AFOLU capacity</a:t>
          </a:r>
          <a:endParaRPr lang="tr-TR" sz="1600" kern="1200" dirty="0">
            <a:latin typeface="Calibri" panose="020F0502020204030204" pitchFamily="34" charset="0"/>
            <a:cs typeface="Calibri" panose="020F0502020204030204" pitchFamily="34" charset="0"/>
          </a:endParaRPr>
        </a:p>
      </dsp:txBody>
      <dsp:txXfrm>
        <a:off x="637619" y="0"/>
        <a:ext cx="1554613" cy="525503"/>
      </dsp:txXfrm>
    </dsp:sp>
    <dsp:sp modelId="{BEA4255B-2CDC-4137-99A0-EC3DDA031E9F}">
      <dsp:nvSpPr>
        <dsp:cNvPr id="0" name=""/>
        <dsp:cNvSpPr/>
      </dsp:nvSpPr>
      <dsp:spPr>
        <a:xfrm>
          <a:off x="2301713" y="0"/>
          <a:ext cx="525503" cy="525503"/>
        </a:xfrm>
        <a:prstGeom prst="ellipse">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243966-3268-4B4A-966E-9E3CB126FBEB}">
      <dsp:nvSpPr>
        <dsp:cNvPr id="0" name=""/>
        <dsp:cNvSpPr/>
      </dsp:nvSpPr>
      <dsp:spPr>
        <a:xfrm>
          <a:off x="2354263" y="52550"/>
          <a:ext cx="420402" cy="420402"/>
        </a:xfrm>
        <a:prstGeom prst="chord">
          <a:avLst>
            <a:gd name="adj1" fmla="val 692220"/>
            <a:gd name="adj2" fmla="val 1010778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22DB0E-75A0-4BD2-8540-11AC41754545}">
      <dsp:nvSpPr>
        <dsp:cNvPr id="0" name=""/>
        <dsp:cNvSpPr/>
      </dsp:nvSpPr>
      <dsp:spPr>
        <a:xfrm>
          <a:off x="2936696" y="0"/>
          <a:ext cx="1554613" cy="525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b" anchorCtr="0">
          <a:noAutofit/>
        </a:bodyPr>
        <a:lstStyle/>
        <a:p>
          <a:pPr lvl="0" algn="l" defTabSz="711200">
            <a:lnSpc>
              <a:spcPct val="90000"/>
            </a:lnSpc>
            <a:spcBef>
              <a:spcPct val="0"/>
            </a:spcBef>
            <a:spcAft>
              <a:spcPct val="35000"/>
            </a:spcAft>
          </a:pPr>
          <a:r>
            <a:rPr lang="tr-TR" sz="1600" b="1" kern="1200" dirty="0" smtClean="0">
              <a:latin typeface="Calibri" panose="020F0502020204030204" pitchFamily="34" charset="0"/>
              <a:cs typeface="Calibri" panose="020F0502020204030204" pitchFamily="34" charset="0"/>
            </a:rPr>
            <a:t>Project </a:t>
          </a:r>
          <a:r>
            <a:rPr lang="tr-TR" sz="1600" b="1" kern="1200" dirty="0" err="1" smtClean="0">
              <a:latin typeface="Calibri" panose="020F0502020204030204" pitchFamily="34" charset="0"/>
              <a:cs typeface="Calibri" panose="020F0502020204030204" pitchFamily="34" charset="0"/>
            </a:rPr>
            <a:t>Inception</a:t>
          </a:r>
          <a:endParaRPr lang="tr-TR" sz="1600" b="1" kern="1200" dirty="0" smtClean="0">
            <a:latin typeface="Calibri" panose="020F0502020204030204" pitchFamily="34" charset="0"/>
            <a:cs typeface="Calibri" panose="020F0502020204030204" pitchFamily="34" charset="0"/>
          </a:endParaRP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Preparation of </a:t>
          </a:r>
          <a:r>
            <a:rPr lang="en-US" sz="1600" kern="1200" dirty="0" err="1" smtClean="0">
              <a:latin typeface="Calibri" panose="020F0502020204030204" pitchFamily="34" charset="0"/>
              <a:cs typeface="Calibri" panose="020F0502020204030204" pitchFamily="34" charset="0"/>
            </a:rPr>
            <a:t>Türkiye’s</a:t>
          </a:r>
          <a:r>
            <a:rPr lang="en-US" sz="1600" kern="1200" dirty="0" smtClean="0">
              <a:latin typeface="Calibri" panose="020F0502020204030204" pitchFamily="34" charset="0"/>
              <a:cs typeface="Calibri" panose="020F0502020204030204" pitchFamily="34" charset="0"/>
            </a:rPr>
            <a:t> </a:t>
          </a:r>
          <a:r>
            <a:rPr lang="en-US" sz="1600" b="1" kern="1200" dirty="0" smtClean="0">
              <a:latin typeface="Calibri" panose="020F0502020204030204" pitchFamily="34" charset="0"/>
              <a:cs typeface="Calibri" panose="020F0502020204030204" pitchFamily="34" charset="0"/>
            </a:rPr>
            <a:t>2nd NDC</a:t>
          </a:r>
        </a:p>
        <a:p>
          <a:pPr lvl="0" algn="l" defTabSz="711200">
            <a:lnSpc>
              <a:spcPct val="90000"/>
            </a:lnSpc>
            <a:spcBef>
              <a:spcPct val="0"/>
            </a:spcBef>
            <a:spcAft>
              <a:spcPct val="35000"/>
            </a:spcAft>
          </a:pPr>
          <a:r>
            <a:rPr lang="en-US" sz="1600" kern="1200" dirty="0" smtClean="0">
              <a:solidFill>
                <a:schemeClr val="tx1"/>
              </a:solidFill>
              <a:latin typeface="Calibri" panose="020F0502020204030204" pitchFamily="34" charset="0"/>
              <a:cs typeface="Calibri" panose="020F0502020204030204" pitchFamily="34" charset="0"/>
            </a:rPr>
            <a:t>NDC-aligned accelerator for scaled-up mitigation</a:t>
          </a:r>
          <a:endParaRPr lang="tr-TR" sz="1600" kern="1200" dirty="0">
            <a:latin typeface="Calibri" panose="020F0502020204030204" pitchFamily="34" charset="0"/>
            <a:cs typeface="Calibri" panose="020F0502020204030204" pitchFamily="34" charset="0"/>
          </a:endParaRPr>
        </a:p>
      </dsp:txBody>
      <dsp:txXfrm>
        <a:off x="2936696" y="0"/>
        <a:ext cx="1554613" cy="525503"/>
      </dsp:txXfrm>
    </dsp:sp>
    <dsp:sp modelId="{538DFBDD-36BD-41BF-A7E7-26A870525A3F}">
      <dsp:nvSpPr>
        <dsp:cNvPr id="0" name=""/>
        <dsp:cNvSpPr/>
      </dsp:nvSpPr>
      <dsp:spPr>
        <a:xfrm>
          <a:off x="4600789" y="0"/>
          <a:ext cx="525503" cy="525503"/>
        </a:xfrm>
        <a:prstGeom prst="ellipse">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2F1E63-DAEB-495D-A2F8-BCF0679E9E90}">
      <dsp:nvSpPr>
        <dsp:cNvPr id="0" name=""/>
        <dsp:cNvSpPr/>
      </dsp:nvSpPr>
      <dsp:spPr>
        <a:xfrm>
          <a:off x="4653339" y="52550"/>
          <a:ext cx="420402" cy="420402"/>
        </a:xfrm>
        <a:prstGeom prst="chord">
          <a:avLst>
            <a:gd name="adj1" fmla="val 20907780"/>
            <a:gd name="adj2" fmla="val 1149222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206B366-0D84-402D-B756-C8F8E3859B2F}">
      <dsp:nvSpPr>
        <dsp:cNvPr id="0" name=""/>
        <dsp:cNvSpPr/>
      </dsp:nvSpPr>
      <dsp:spPr>
        <a:xfrm>
          <a:off x="5235772" y="0"/>
          <a:ext cx="1554613" cy="525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b" anchorCtr="0">
          <a:noAutofit/>
        </a:bodyPr>
        <a:lstStyle/>
        <a:p>
          <a:pPr lvl="0" algn="l" defTabSz="711200">
            <a:lnSpc>
              <a:spcPct val="90000"/>
            </a:lnSpc>
            <a:spcBef>
              <a:spcPct val="0"/>
            </a:spcBef>
            <a:spcAft>
              <a:spcPct val="35000"/>
            </a:spcAft>
          </a:pPr>
          <a:r>
            <a:rPr lang="tr-TR" sz="1600" b="1" kern="1200" dirty="0" err="1" smtClean="0">
              <a:latin typeface="Calibri" panose="020F0502020204030204" pitchFamily="34" charset="0"/>
              <a:cs typeface="Calibri" panose="020F0502020204030204" pitchFamily="34" charset="0"/>
            </a:rPr>
            <a:t>Capacity</a:t>
          </a:r>
          <a:r>
            <a:rPr lang="tr-TR" sz="1600" b="1" kern="1200" dirty="0" smtClean="0">
              <a:latin typeface="Calibri" panose="020F0502020204030204" pitchFamily="34" charset="0"/>
              <a:cs typeface="Calibri" panose="020F0502020204030204" pitchFamily="34" charset="0"/>
            </a:rPr>
            <a:t> </a:t>
          </a:r>
          <a:r>
            <a:rPr lang="tr-TR" sz="1600" b="1" kern="1200" dirty="0" err="1" smtClean="0">
              <a:latin typeface="Calibri" panose="020F0502020204030204" pitchFamily="34" charset="0"/>
              <a:cs typeface="Calibri" panose="020F0502020204030204" pitchFamily="34" charset="0"/>
            </a:rPr>
            <a:t>Building</a:t>
          </a:r>
          <a:r>
            <a:rPr lang="tr-TR" sz="1600" b="1" kern="1200" dirty="0" smtClean="0">
              <a:latin typeface="Calibri" panose="020F0502020204030204" pitchFamily="34" charset="0"/>
              <a:cs typeface="Calibri" panose="020F0502020204030204" pitchFamily="34" charset="0"/>
            </a:rPr>
            <a:t> &amp; </a:t>
          </a:r>
          <a:r>
            <a:rPr lang="tr-TR" sz="1600" b="1" kern="1200" dirty="0" err="1" smtClean="0">
              <a:latin typeface="Calibri" panose="020F0502020204030204" pitchFamily="34" charset="0"/>
              <a:cs typeface="Calibri" panose="020F0502020204030204" pitchFamily="34" charset="0"/>
            </a:rPr>
            <a:t>Early</a:t>
          </a:r>
          <a:r>
            <a:rPr lang="tr-TR" sz="1600" b="1" kern="1200" dirty="0" smtClean="0">
              <a:latin typeface="Calibri" panose="020F0502020204030204" pitchFamily="34" charset="0"/>
              <a:cs typeface="Calibri" panose="020F0502020204030204" pitchFamily="34" charset="0"/>
            </a:rPr>
            <a:t> </a:t>
          </a:r>
          <a:r>
            <a:rPr lang="tr-TR" sz="1600" b="1" kern="1200" dirty="0" err="1" smtClean="0">
              <a:latin typeface="Calibri" panose="020F0502020204030204" pitchFamily="34" charset="0"/>
              <a:cs typeface="Calibri" panose="020F0502020204030204" pitchFamily="34" charset="0"/>
            </a:rPr>
            <a:t>Implementation</a:t>
          </a:r>
          <a:endParaRPr lang="tr-TR" sz="1600" b="1" kern="1200" dirty="0" smtClean="0">
            <a:latin typeface="Calibri" panose="020F0502020204030204" pitchFamily="34" charset="0"/>
            <a:cs typeface="Calibri" panose="020F0502020204030204" pitchFamily="34" charset="0"/>
          </a:endParaRP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raining of </a:t>
          </a:r>
          <a:r>
            <a:rPr lang="en-US" sz="1600" b="1" kern="1200" dirty="0" smtClean="0">
              <a:latin typeface="Calibri" panose="020F0502020204030204" pitchFamily="34" charset="0"/>
              <a:cs typeface="Calibri" panose="020F0502020204030204" pitchFamily="34" charset="0"/>
            </a:rPr>
            <a:t>national experts</a:t>
          </a:r>
          <a:r>
            <a:rPr lang="en-US" sz="1600" kern="1200" dirty="0" smtClean="0">
              <a:latin typeface="Calibri" panose="020F0502020204030204" pitchFamily="34" charset="0"/>
              <a:cs typeface="Calibri" panose="020F0502020204030204" pitchFamily="34" charset="0"/>
            </a:rPr>
            <a:t> on IPCC methodologies</a:t>
          </a:r>
        </a:p>
        <a:p>
          <a:pPr lvl="0" algn="l" defTabSz="711200">
            <a:lnSpc>
              <a:spcPct val="90000"/>
            </a:lnSpc>
            <a:spcBef>
              <a:spcPct val="0"/>
            </a:spcBef>
            <a:spcAft>
              <a:spcPct val="35000"/>
            </a:spcAft>
          </a:pPr>
          <a:r>
            <a:rPr lang="tr-TR" sz="1600" kern="1200" dirty="0" err="1" smtClean="0">
              <a:latin typeface="Calibri" panose="020F0502020204030204" pitchFamily="34" charset="0"/>
              <a:cs typeface="Calibri" panose="020F0502020204030204" pitchFamily="34" charset="0"/>
            </a:rPr>
            <a:t>Institutional</a:t>
          </a:r>
          <a:r>
            <a:rPr lang="tr-TR" sz="1600" kern="1200" dirty="0" smtClean="0">
              <a:latin typeface="Calibri" panose="020F0502020204030204" pitchFamily="34" charset="0"/>
              <a:cs typeface="Calibri" panose="020F0502020204030204" pitchFamily="34" charset="0"/>
            </a:rPr>
            <a:t> </a:t>
          </a:r>
          <a:r>
            <a:rPr lang="tr-TR" sz="1600" b="1" kern="1200" dirty="0" err="1" smtClean="0">
              <a:latin typeface="Calibri" panose="020F0502020204030204" pitchFamily="34" charset="0"/>
              <a:cs typeface="Calibri" panose="020F0502020204030204" pitchFamily="34" charset="0"/>
            </a:rPr>
            <a:t>coordination</a:t>
          </a:r>
          <a:r>
            <a:rPr lang="tr-TR" sz="1600" b="1" kern="1200" dirty="0" smtClean="0">
              <a:latin typeface="Calibri" panose="020F0502020204030204" pitchFamily="34" charset="0"/>
              <a:cs typeface="Calibri" panose="020F0502020204030204" pitchFamily="34" charset="0"/>
            </a:rPr>
            <a:t> </a:t>
          </a:r>
          <a:r>
            <a:rPr lang="tr-TR" sz="1600" b="1" kern="1200" dirty="0" err="1" smtClean="0">
              <a:latin typeface="Calibri" panose="020F0502020204030204" pitchFamily="34" charset="0"/>
              <a:cs typeface="Calibri" panose="020F0502020204030204" pitchFamily="34" charset="0"/>
            </a:rPr>
            <a:t>mechanisms</a:t>
          </a:r>
          <a:r>
            <a:rPr lang="tr-TR" sz="1600" kern="1200" dirty="0" smtClean="0">
              <a:latin typeface="Calibri" panose="020F0502020204030204" pitchFamily="34" charset="0"/>
              <a:cs typeface="Calibri" panose="020F0502020204030204" pitchFamily="34" charset="0"/>
            </a:rPr>
            <a:t> </a:t>
          </a:r>
          <a:r>
            <a:rPr lang="tr-TR" sz="1600" kern="1200" dirty="0" err="1" smtClean="0">
              <a:latin typeface="Calibri" panose="020F0502020204030204" pitchFamily="34" charset="0"/>
              <a:cs typeface="Calibri" panose="020F0502020204030204" pitchFamily="34" charset="0"/>
            </a:rPr>
            <a:t>established</a:t>
          </a:r>
          <a:endParaRPr lang="tr-TR" sz="1600" kern="1200" dirty="0" smtClean="0">
            <a:latin typeface="Calibri" panose="020F0502020204030204" pitchFamily="34" charset="0"/>
            <a:cs typeface="Calibri" panose="020F0502020204030204" pitchFamily="34" charset="0"/>
          </a:endParaRPr>
        </a:p>
      </dsp:txBody>
      <dsp:txXfrm>
        <a:off x="5235772" y="0"/>
        <a:ext cx="1554613" cy="525503"/>
      </dsp:txXfrm>
    </dsp:sp>
    <dsp:sp modelId="{B25A50DC-3764-4BE3-9F8A-F95901EAC0C4}">
      <dsp:nvSpPr>
        <dsp:cNvPr id="0" name=""/>
        <dsp:cNvSpPr/>
      </dsp:nvSpPr>
      <dsp:spPr>
        <a:xfrm>
          <a:off x="6899866" y="0"/>
          <a:ext cx="525503" cy="525503"/>
        </a:xfrm>
        <a:prstGeom prst="ellipse">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719827-A407-4540-BBF6-0AC6F38F085D}">
      <dsp:nvSpPr>
        <dsp:cNvPr id="0" name=""/>
        <dsp:cNvSpPr/>
      </dsp:nvSpPr>
      <dsp:spPr>
        <a:xfrm>
          <a:off x="6952416" y="52550"/>
          <a:ext cx="420402" cy="420402"/>
        </a:xfrm>
        <a:prstGeom prst="chord">
          <a:avLst>
            <a:gd name="adj1" fmla="val 19267806"/>
            <a:gd name="adj2" fmla="val 13012194"/>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56962F-9A96-4E1D-8DC0-046EBB4644D8}">
      <dsp:nvSpPr>
        <dsp:cNvPr id="0" name=""/>
        <dsp:cNvSpPr/>
      </dsp:nvSpPr>
      <dsp:spPr>
        <a:xfrm>
          <a:off x="7534849" y="0"/>
          <a:ext cx="1554613" cy="525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b" anchorCtr="0">
          <a:noAutofit/>
        </a:bodyPr>
        <a:lstStyle/>
        <a:p>
          <a:pPr lvl="0" algn="l" defTabSz="711200">
            <a:lnSpc>
              <a:spcPct val="90000"/>
            </a:lnSpc>
            <a:spcBef>
              <a:spcPct val="0"/>
            </a:spcBef>
            <a:spcAft>
              <a:spcPct val="35000"/>
            </a:spcAft>
          </a:pPr>
          <a:r>
            <a:rPr lang="tr-TR" sz="1600" b="1" kern="1200" dirty="0" smtClean="0">
              <a:latin typeface="Calibri" panose="020F0502020204030204" pitchFamily="34" charset="0"/>
              <a:cs typeface="Calibri" panose="020F0502020204030204" pitchFamily="34" charset="0"/>
            </a:rPr>
            <a:t>Full </a:t>
          </a:r>
          <a:r>
            <a:rPr lang="tr-TR" sz="1600" b="1" kern="1200" dirty="0" err="1" smtClean="0">
              <a:latin typeface="Calibri" panose="020F0502020204030204" pitchFamily="34" charset="0"/>
              <a:cs typeface="Calibri" panose="020F0502020204030204" pitchFamily="34" charset="0"/>
            </a:rPr>
            <a:t>Implementation</a:t>
          </a:r>
          <a:r>
            <a:rPr lang="tr-TR" sz="1600" b="1" kern="1200" dirty="0" smtClean="0">
              <a:latin typeface="Calibri" panose="020F0502020204030204" pitchFamily="34" charset="0"/>
              <a:cs typeface="Calibri" panose="020F0502020204030204" pitchFamily="34" charset="0"/>
            </a:rPr>
            <a:t> &amp; </a:t>
          </a:r>
          <a:r>
            <a:rPr lang="tr-TR" sz="1600" b="1" kern="1200" dirty="0" err="1" smtClean="0">
              <a:latin typeface="Calibri" panose="020F0502020204030204" pitchFamily="34" charset="0"/>
              <a:cs typeface="Calibri" panose="020F0502020204030204" pitchFamily="34" charset="0"/>
            </a:rPr>
            <a:t>Long-Term</a:t>
          </a:r>
          <a:r>
            <a:rPr lang="tr-TR" sz="1600" b="1" kern="1200" dirty="0" smtClean="0">
              <a:latin typeface="Calibri" panose="020F0502020204030204" pitchFamily="34" charset="0"/>
              <a:cs typeface="Calibri" panose="020F0502020204030204" pitchFamily="34" charset="0"/>
            </a:rPr>
            <a:t> </a:t>
          </a:r>
          <a:r>
            <a:rPr lang="tr-TR" sz="1600" b="1" kern="1200" dirty="0" err="1" smtClean="0">
              <a:latin typeface="Calibri" panose="020F0502020204030204" pitchFamily="34" charset="0"/>
              <a:cs typeface="Calibri" panose="020F0502020204030204" pitchFamily="34" charset="0"/>
            </a:rPr>
            <a:t>Impact</a:t>
          </a:r>
          <a:endParaRPr lang="tr-TR" sz="1600" b="1" kern="1200" dirty="0" smtClean="0">
            <a:latin typeface="Calibri" panose="020F0502020204030204" pitchFamily="34" charset="0"/>
            <a:cs typeface="Calibri" panose="020F0502020204030204" pitchFamily="34" charset="0"/>
          </a:endParaRP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Sustained capacity building for institutions and experts</a:t>
          </a: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Strengthened </a:t>
          </a:r>
          <a:r>
            <a:rPr lang="en-US" sz="1600" b="1" kern="1200" dirty="0" smtClean="0">
              <a:latin typeface="Calibri" panose="020F0502020204030204" pitchFamily="34" charset="0"/>
              <a:cs typeface="Calibri" panose="020F0502020204030204" pitchFamily="34" charset="0"/>
            </a:rPr>
            <a:t>AFOLU reporting tools</a:t>
          </a:r>
          <a:r>
            <a:rPr lang="en-US" sz="1600" kern="1200" dirty="0" smtClean="0">
              <a:latin typeface="Calibri" panose="020F0502020204030204" pitchFamily="34" charset="0"/>
              <a:cs typeface="Calibri" panose="020F0502020204030204" pitchFamily="34" charset="0"/>
            </a:rPr>
            <a:t> and policy frameworks</a:t>
          </a:r>
        </a:p>
        <a:p>
          <a:pPr lvl="0" algn="l" defTabSz="711200">
            <a:lnSpc>
              <a:spcPct val="90000"/>
            </a:lnSpc>
            <a:spcBef>
              <a:spcPct val="0"/>
            </a:spcBef>
            <a:spcAft>
              <a:spcPct val="35000"/>
            </a:spcAft>
          </a:pPr>
          <a:r>
            <a:rPr lang="tr-TR" sz="1600" kern="1200" dirty="0" err="1" smtClean="0">
              <a:latin typeface="Calibri" panose="020F0502020204030204" pitchFamily="34" charset="0"/>
              <a:cs typeface="Calibri" panose="020F0502020204030204" pitchFamily="34" charset="0"/>
            </a:rPr>
            <a:t>Continuous</a:t>
          </a:r>
          <a:r>
            <a:rPr lang="tr-TR" sz="1600" kern="1200" dirty="0" smtClean="0">
              <a:latin typeface="Calibri" panose="020F0502020204030204" pitchFamily="34" charset="0"/>
              <a:cs typeface="Calibri" panose="020F0502020204030204" pitchFamily="34" charset="0"/>
            </a:rPr>
            <a:t> </a:t>
          </a:r>
          <a:r>
            <a:rPr lang="tr-TR" sz="1600" kern="1200" dirty="0" err="1" smtClean="0">
              <a:latin typeface="Calibri" panose="020F0502020204030204" pitchFamily="34" charset="0"/>
              <a:cs typeface="Calibri" panose="020F0502020204030204" pitchFamily="34" charset="0"/>
            </a:rPr>
            <a:t>support</a:t>
          </a:r>
          <a:r>
            <a:rPr lang="tr-TR" sz="1600" kern="1200" dirty="0" smtClean="0">
              <a:latin typeface="Calibri" panose="020F0502020204030204" pitchFamily="34" charset="0"/>
              <a:cs typeface="Calibri" panose="020F0502020204030204" pitchFamily="34" charset="0"/>
            </a:rPr>
            <a:t> </a:t>
          </a:r>
          <a:r>
            <a:rPr lang="tr-TR" sz="1600" kern="1200" dirty="0" err="1" smtClean="0">
              <a:latin typeface="Calibri" panose="020F0502020204030204" pitchFamily="34" charset="0"/>
              <a:cs typeface="Calibri" panose="020F0502020204030204" pitchFamily="34" charset="0"/>
            </a:rPr>
            <a:t>to</a:t>
          </a:r>
          <a:r>
            <a:rPr lang="tr-TR" sz="1600" kern="1200" dirty="0" smtClean="0">
              <a:latin typeface="Calibri" panose="020F0502020204030204" pitchFamily="34" charset="0"/>
              <a:cs typeface="Calibri" panose="020F0502020204030204" pitchFamily="34" charset="0"/>
            </a:rPr>
            <a:t> </a:t>
          </a:r>
          <a:r>
            <a:rPr lang="tr-TR" sz="1600" b="1" kern="1200" dirty="0" smtClean="0">
              <a:latin typeface="Calibri" panose="020F0502020204030204" pitchFamily="34" charset="0"/>
              <a:cs typeface="Calibri" panose="020F0502020204030204" pitchFamily="34" charset="0"/>
            </a:rPr>
            <a:t>2nd NDC </a:t>
          </a:r>
          <a:r>
            <a:rPr lang="tr-TR" sz="1600" b="1" kern="1200" dirty="0" err="1" smtClean="0">
              <a:latin typeface="Calibri" panose="020F0502020204030204" pitchFamily="34" charset="0"/>
              <a:cs typeface="Calibri" panose="020F0502020204030204" pitchFamily="34" charset="0"/>
            </a:rPr>
            <a:t>implementation</a:t>
          </a:r>
          <a:r>
            <a:rPr lang="tr-TR" sz="1600" b="1" kern="1200" dirty="0" smtClean="0">
              <a:latin typeface="Calibri" panose="020F0502020204030204" pitchFamily="34" charset="0"/>
              <a:cs typeface="Calibri" panose="020F0502020204030204" pitchFamily="34" charset="0"/>
            </a:rPr>
            <a:t> </a:t>
          </a:r>
          <a:r>
            <a:rPr lang="tr-TR" sz="1600" b="0" kern="1200" dirty="0" err="1" smtClean="0">
              <a:latin typeface="Calibri" panose="020F0502020204030204" pitchFamily="34" charset="0"/>
              <a:cs typeface="Calibri" panose="020F0502020204030204" pitchFamily="34" charset="0"/>
            </a:rPr>
            <a:t>and</a:t>
          </a:r>
          <a:r>
            <a:rPr lang="tr-TR" sz="1600" b="0" kern="1200" dirty="0" smtClean="0">
              <a:latin typeface="Calibri" panose="020F0502020204030204" pitchFamily="34" charset="0"/>
              <a:cs typeface="Calibri" panose="020F0502020204030204" pitchFamily="34" charset="0"/>
            </a:rPr>
            <a:t> </a:t>
          </a:r>
          <a:r>
            <a:rPr lang="tr-TR" sz="1600" kern="1200" dirty="0" smtClean="0">
              <a:latin typeface="Calibri" panose="020F0502020204030204" pitchFamily="34" charset="0"/>
              <a:cs typeface="Calibri" panose="020F0502020204030204" pitchFamily="34" charset="0"/>
            </a:rPr>
            <a:t>BTR </a:t>
          </a:r>
          <a:r>
            <a:rPr lang="tr-TR" sz="1600" kern="1200" dirty="0" err="1" smtClean="0">
              <a:latin typeface="Calibri" panose="020F0502020204030204" pitchFamily="34" charset="0"/>
              <a:cs typeface="Calibri" panose="020F0502020204030204" pitchFamily="34" charset="0"/>
            </a:rPr>
            <a:t>submissions</a:t>
          </a:r>
          <a:endParaRPr lang="tr-TR" sz="1600" kern="1200" dirty="0">
            <a:latin typeface="Calibri" panose="020F0502020204030204" pitchFamily="34" charset="0"/>
            <a:cs typeface="Calibri" panose="020F0502020204030204" pitchFamily="34" charset="0"/>
          </a:endParaRPr>
        </a:p>
      </dsp:txBody>
      <dsp:txXfrm>
        <a:off x="7534849" y="0"/>
        <a:ext cx="1554613" cy="525503"/>
      </dsp:txXfrm>
    </dsp:sp>
    <dsp:sp modelId="{847B07B2-1463-4A4C-A9D9-02294358E3F2}">
      <dsp:nvSpPr>
        <dsp:cNvPr id="0" name=""/>
        <dsp:cNvSpPr/>
      </dsp:nvSpPr>
      <dsp:spPr>
        <a:xfrm>
          <a:off x="9198942" y="0"/>
          <a:ext cx="525503" cy="525503"/>
        </a:xfrm>
        <a:prstGeom prst="ellipse">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105AA3-D274-4A2C-AD07-0B2FED997FEC}">
      <dsp:nvSpPr>
        <dsp:cNvPr id="0" name=""/>
        <dsp:cNvSpPr/>
      </dsp:nvSpPr>
      <dsp:spPr>
        <a:xfrm>
          <a:off x="9251493" y="52550"/>
          <a:ext cx="420402" cy="420402"/>
        </a:xfrm>
        <a:prstGeom prst="chord">
          <a:avLst>
            <a:gd name="adj1" fmla="val 16200000"/>
            <a:gd name="adj2" fmla="val 1620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C839DB-9D3B-4DCF-997A-30283D120095}">
      <dsp:nvSpPr>
        <dsp:cNvPr id="0" name=""/>
        <dsp:cNvSpPr/>
      </dsp:nvSpPr>
      <dsp:spPr>
        <a:xfrm>
          <a:off x="9833925" y="0"/>
          <a:ext cx="1554613" cy="525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b" anchorCtr="0">
          <a:noAutofit/>
        </a:bodyPr>
        <a:lstStyle/>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 </a:t>
          </a:r>
          <a:endParaRPr lang="tr-TR" sz="1600" b="1" kern="1200" dirty="0" smtClean="0">
            <a:latin typeface="Calibri" panose="020F0502020204030204" pitchFamily="34" charset="0"/>
            <a:cs typeface="Calibri" panose="020F0502020204030204" pitchFamily="34" charset="0"/>
          </a:endParaRPr>
        </a:p>
        <a:p>
          <a:pPr lvl="0" algn="l" defTabSz="711200">
            <a:lnSpc>
              <a:spcPct val="90000"/>
            </a:lnSpc>
            <a:spcBef>
              <a:spcPct val="0"/>
            </a:spcBef>
            <a:spcAft>
              <a:spcPct val="35000"/>
            </a:spcAft>
          </a:pPr>
          <a:r>
            <a:rPr lang="tr-TR" sz="1600" b="1" kern="1200" dirty="0" smtClean="0">
              <a:latin typeface="Calibri" panose="020F0502020204030204" pitchFamily="34" charset="0"/>
              <a:cs typeface="Calibri" panose="020F0502020204030204" pitchFamily="34" charset="0"/>
            </a:rPr>
            <a:t>Net Zero </a:t>
          </a:r>
          <a:r>
            <a:rPr lang="tr-TR" sz="1600" b="1" kern="1200" dirty="0" err="1" smtClean="0">
              <a:latin typeface="Calibri" panose="020F0502020204030204" pitchFamily="34" charset="0"/>
              <a:cs typeface="Calibri" panose="020F0502020204030204" pitchFamily="34" charset="0"/>
            </a:rPr>
            <a:t>Target</a:t>
          </a:r>
          <a:endParaRPr lang="tr-TR" sz="1600" b="1" kern="1200" dirty="0" smtClean="0">
            <a:latin typeface="Calibri" panose="020F0502020204030204" pitchFamily="34" charset="0"/>
            <a:cs typeface="Calibri" panose="020F0502020204030204" pitchFamily="34" charset="0"/>
          </a:endParaRP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Alignment with Türkiye’s Net-Zero Target </a:t>
          </a:r>
          <a:endParaRPr lang="tr-TR" sz="1600" kern="1200" dirty="0" smtClean="0">
            <a:latin typeface="Calibri" panose="020F0502020204030204" pitchFamily="34" charset="0"/>
            <a:cs typeface="Calibri" panose="020F0502020204030204" pitchFamily="34" charset="0"/>
          </a:endParaRP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Long-term use of project outputs: </a:t>
          </a:r>
          <a:r>
            <a:rPr lang="en-US" sz="1600" b="1" kern="1200" dirty="0" smtClean="0">
              <a:latin typeface="Calibri" panose="020F0502020204030204" pitchFamily="34" charset="0"/>
              <a:cs typeface="Calibri" panose="020F0502020204030204" pitchFamily="34" charset="0"/>
            </a:rPr>
            <a:t>expert pool, institutional knowledge, robust policies</a:t>
          </a:r>
          <a:endParaRPr lang="tr-TR" sz="1600" b="1" kern="1200" dirty="0">
            <a:latin typeface="Calibri" panose="020F0502020204030204" pitchFamily="34" charset="0"/>
            <a:cs typeface="Calibri" panose="020F0502020204030204" pitchFamily="34" charset="0"/>
          </a:endParaRPr>
        </a:p>
      </dsp:txBody>
      <dsp:txXfrm>
        <a:off x="9833925" y="0"/>
        <a:ext cx="1554613" cy="5255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32BD2F-BCB1-4373-9437-FA8F7642BE13}">
      <dsp:nvSpPr>
        <dsp:cNvPr id="0" name=""/>
        <dsp:cNvSpPr/>
      </dsp:nvSpPr>
      <dsp:spPr>
        <a:xfrm>
          <a:off x="114610" y="264454"/>
          <a:ext cx="2762400" cy="3523470"/>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4000" r="-14000"/>
          </a:stretch>
        </a:blipFill>
        <a:ln>
          <a:noFill/>
        </a:ln>
        <a:effectLst/>
        <a:scene3d>
          <a:camera prst="orthographicFront"/>
          <a:lightRig rig="threePt" dir="t">
            <a:rot lat="0" lon="0" rev="7500000"/>
          </a:lightRig>
        </a:scene3d>
        <a:sp3d z="-152400" extrusionH="63500" contourW="12700" prstMaterial="matte">
          <a:contourClr>
            <a:schemeClr val="lt1"/>
          </a:contourClr>
        </a:sp3d>
      </dsp:spPr>
      <dsp:style>
        <a:lnRef idx="0">
          <a:scrgbClr r="0" g="0" b="0"/>
        </a:lnRef>
        <a:fillRef idx="1">
          <a:scrgbClr r="0" g="0" b="0"/>
        </a:fillRef>
        <a:effectRef idx="0">
          <a:scrgbClr r="0" g="0" b="0"/>
        </a:effectRef>
        <a:fontRef idx="minor"/>
      </dsp:style>
    </dsp:sp>
    <dsp:sp modelId="{67F2171F-972F-44C3-8D21-1DB979685FB7}">
      <dsp:nvSpPr>
        <dsp:cNvPr id="0" name=""/>
        <dsp:cNvSpPr/>
      </dsp:nvSpPr>
      <dsp:spPr>
        <a:xfrm>
          <a:off x="225106" y="1532903"/>
          <a:ext cx="2127048" cy="2114082"/>
        </a:xfrm>
        <a:prstGeom prst="rect">
          <a:avLst/>
        </a:prstGeom>
        <a:noFill/>
        <a:ln>
          <a:noFill/>
        </a:ln>
        <a:effectLst/>
        <a:scene3d>
          <a:camera prst="orthographicFront"/>
          <a:lightRig rig="threePt" dir="t">
            <a:rot lat="0" lon="0" rev="7500000"/>
          </a:lightRig>
        </a:scene3d>
        <a:sp3d/>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b" anchorCtr="0">
          <a:noAutofit/>
        </a:bodyPr>
        <a:lstStyle/>
        <a:p>
          <a:pPr lvl="0" algn="l" defTabSz="622300">
            <a:lnSpc>
              <a:spcPct val="90000"/>
            </a:lnSpc>
            <a:spcBef>
              <a:spcPct val="0"/>
            </a:spcBef>
            <a:spcAft>
              <a:spcPct val="35000"/>
            </a:spcAft>
          </a:pPr>
          <a:r>
            <a:rPr lang="en-US" sz="1400" b="1" kern="1200" dirty="0" smtClean="0">
              <a:latin typeface="Calibri" panose="020F0502020204030204" pitchFamily="34" charset="0"/>
              <a:cs typeface="Calibri" panose="020F0502020204030204" pitchFamily="34" charset="0"/>
            </a:rPr>
            <a:t>Sector</a:t>
          </a:r>
        </a:p>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AFOLU (Agriculture, Forestry and Other Land Use)</a:t>
          </a:r>
          <a:endParaRPr lang="tr-TR" sz="1400" kern="1200" dirty="0">
            <a:latin typeface="Calibri" panose="020F0502020204030204" pitchFamily="34" charset="0"/>
            <a:cs typeface="Calibri" panose="020F0502020204030204" pitchFamily="34" charset="0"/>
          </a:endParaRPr>
        </a:p>
      </dsp:txBody>
      <dsp:txXfrm>
        <a:off x="225106" y="1532903"/>
        <a:ext cx="2127048" cy="2114082"/>
      </dsp:txXfrm>
    </dsp:sp>
    <dsp:sp modelId="{FA2A6045-DCF3-430C-9B78-52A2B1F14712}">
      <dsp:nvSpPr>
        <dsp:cNvPr id="0" name=""/>
        <dsp:cNvSpPr/>
      </dsp:nvSpPr>
      <dsp:spPr>
        <a:xfrm>
          <a:off x="2401342" y="88280"/>
          <a:ext cx="951336" cy="951336"/>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a:noFill/>
        </a:ln>
        <a:effectLst/>
        <a:scene3d>
          <a:camera prst="orthographicFront"/>
          <a:lightRig rig="threePt" dir="t">
            <a:rot lat="0" lon="0" rev="7500000"/>
          </a:lightRig>
        </a:scene3d>
        <a:sp3d z="254000" extrusionH="63500" contourW="12700" prstMaterial="matte">
          <a:contourClr>
            <a:schemeClr val="lt1"/>
          </a:contourClr>
        </a:sp3d>
      </dsp:spPr>
      <dsp:style>
        <a:lnRef idx="0">
          <a:scrgbClr r="0" g="0" b="0"/>
        </a:lnRef>
        <a:fillRef idx="1">
          <a:scrgbClr r="0" g="0" b="0"/>
        </a:fillRef>
        <a:effectRef idx="0">
          <a:scrgbClr r="0" g="0" b="0"/>
        </a:effectRef>
        <a:fontRef idx="minor"/>
      </dsp:style>
    </dsp:sp>
    <dsp:sp modelId="{451DEFD0-A916-4131-A5B7-31ABC75026A7}">
      <dsp:nvSpPr>
        <dsp:cNvPr id="0" name=""/>
        <dsp:cNvSpPr/>
      </dsp:nvSpPr>
      <dsp:spPr>
        <a:xfrm>
          <a:off x="3352679" y="88280"/>
          <a:ext cx="2643053" cy="951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17780" rIns="35560" bIns="17780" numCol="1" spcCol="1270" anchor="ctr" anchorCtr="0">
          <a:noAutofit/>
        </a:bodyPr>
        <a:lstStyle/>
        <a:p>
          <a:pPr lvl="0" algn="l" defTabSz="622300">
            <a:lnSpc>
              <a:spcPct val="90000"/>
            </a:lnSpc>
            <a:spcBef>
              <a:spcPct val="0"/>
            </a:spcBef>
            <a:spcAft>
              <a:spcPct val="35000"/>
            </a:spcAft>
          </a:pPr>
          <a:r>
            <a:rPr lang="en-US" sz="1400" b="1" kern="1200" dirty="0" smtClean="0">
              <a:latin typeface="Calibri" panose="020F0502020204030204" pitchFamily="34" charset="0"/>
              <a:cs typeface="Calibri" panose="020F0502020204030204" pitchFamily="34" charset="0"/>
            </a:rPr>
            <a:t>Type of Project</a:t>
          </a:r>
          <a:endParaRPr lang="tr-TR" sz="1400" kern="1200" dirty="0" smtClean="0">
            <a:latin typeface="Calibri" panose="020F0502020204030204" pitchFamily="34" charset="0"/>
            <a:cs typeface="Calibri" panose="020F0502020204030204" pitchFamily="34" charset="0"/>
          </a:endParaRPr>
        </a:p>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Program – Capacity building &amp; technical assistance (grant-based)</a:t>
          </a:r>
          <a:endParaRPr lang="tr-TR" sz="1400" kern="1200" dirty="0">
            <a:latin typeface="Calibri" panose="020F0502020204030204" pitchFamily="34" charset="0"/>
            <a:cs typeface="Calibri" panose="020F0502020204030204" pitchFamily="34" charset="0"/>
          </a:endParaRPr>
        </a:p>
      </dsp:txBody>
      <dsp:txXfrm>
        <a:off x="3352679" y="88280"/>
        <a:ext cx="2643053" cy="951336"/>
      </dsp:txXfrm>
    </dsp:sp>
    <dsp:sp modelId="{2E3B38FC-8E14-424A-B0D6-A6FE230822C1}">
      <dsp:nvSpPr>
        <dsp:cNvPr id="0" name=""/>
        <dsp:cNvSpPr/>
      </dsp:nvSpPr>
      <dsp:spPr>
        <a:xfrm>
          <a:off x="2401342" y="1210858"/>
          <a:ext cx="951336" cy="951336"/>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a:noFill/>
        </a:ln>
        <a:effectLst/>
        <a:scene3d>
          <a:camera prst="orthographicFront"/>
          <a:lightRig rig="threePt" dir="t">
            <a:rot lat="0" lon="0" rev="7500000"/>
          </a:lightRig>
        </a:scene3d>
        <a:sp3d z="254000" extrusionH="63500" contourW="12700" prstMaterial="matte">
          <a:contourClr>
            <a:schemeClr val="lt1"/>
          </a:contourClr>
        </a:sp3d>
      </dsp:spPr>
      <dsp:style>
        <a:lnRef idx="0">
          <a:scrgbClr r="0" g="0" b="0"/>
        </a:lnRef>
        <a:fillRef idx="1">
          <a:scrgbClr r="0" g="0" b="0"/>
        </a:fillRef>
        <a:effectRef idx="0">
          <a:scrgbClr r="0" g="0" b="0"/>
        </a:effectRef>
        <a:fontRef idx="minor"/>
      </dsp:style>
    </dsp:sp>
    <dsp:sp modelId="{9D181680-B7D8-4B1B-8085-E5A3C164725D}">
      <dsp:nvSpPr>
        <dsp:cNvPr id="0" name=""/>
        <dsp:cNvSpPr/>
      </dsp:nvSpPr>
      <dsp:spPr>
        <a:xfrm>
          <a:off x="3352679" y="1210858"/>
          <a:ext cx="2876338" cy="951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17780" rIns="35560" bIns="17780" numCol="1" spcCol="1270" anchor="ctr" anchorCtr="0">
          <a:noAutofit/>
        </a:bodyPr>
        <a:lstStyle/>
        <a:p>
          <a:pPr lvl="0" algn="l" defTabSz="622300">
            <a:lnSpc>
              <a:spcPct val="90000"/>
            </a:lnSpc>
            <a:spcBef>
              <a:spcPct val="0"/>
            </a:spcBef>
            <a:spcAft>
              <a:spcPct val="35000"/>
            </a:spcAft>
          </a:pPr>
          <a:r>
            <a:rPr lang="en-US" sz="1400" b="1" kern="1200" dirty="0" smtClean="0">
              <a:latin typeface="Calibri" panose="020F0502020204030204" pitchFamily="34" charset="0"/>
              <a:cs typeface="Calibri" panose="020F0502020204030204" pitchFamily="34" charset="0"/>
            </a:rPr>
            <a:t>Project Sponsor / Owner</a:t>
          </a:r>
          <a:endParaRPr lang="tr-TR" sz="1400" b="1" kern="1200" dirty="0" smtClean="0">
            <a:latin typeface="Calibri" panose="020F0502020204030204" pitchFamily="34" charset="0"/>
            <a:cs typeface="Calibri" panose="020F0502020204030204" pitchFamily="34" charset="0"/>
          </a:endParaRPr>
        </a:p>
        <a:p>
          <a:pPr lvl="0" algn="l" defTabSz="622300">
            <a:lnSpc>
              <a:spcPct val="90000"/>
            </a:lnSpc>
            <a:spcBef>
              <a:spcPct val="0"/>
            </a:spcBef>
            <a:spcAft>
              <a:spcPct val="35000"/>
            </a:spcAft>
          </a:pPr>
          <a:r>
            <a:rPr lang="tr-TR" sz="1400" kern="1200" dirty="0" err="1" smtClean="0">
              <a:latin typeface="Calibri" panose="020F0502020204030204" pitchFamily="34" charset="0"/>
              <a:cs typeface="Calibri" panose="020F0502020204030204" pitchFamily="34" charset="0"/>
            </a:rPr>
            <a:t>Directorate</a:t>
          </a:r>
          <a:r>
            <a:rPr lang="tr-TR" sz="1400" kern="1200" dirty="0" smtClean="0">
              <a:latin typeface="Calibri" panose="020F0502020204030204" pitchFamily="34" charset="0"/>
              <a:cs typeface="Calibri" panose="020F0502020204030204" pitchFamily="34" charset="0"/>
            </a:rPr>
            <a:t> of </a:t>
          </a:r>
          <a:r>
            <a:rPr lang="en-US" sz="1400" kern="1200" dirty="0" smtClean="0">
              <a:latin typeface="Calibri" panose="020F0502020204030204" pitchFamily="34" charset="0"/>
              <a:cs typeface="Calibri" panose="020F0502020204030204" pitchFamily="34" charset="0"/>
            </a:rPr>
            <a:t>Climate Change (</a:t>
          </a:r>
          <a:r>
            <a:rPr lang="en-US" sz="1400" kern="1200" dirty="0" err="1" smtClean="0">
              <a:latin typeface="Calibri" panose="020F0502020204030204" pitchFamily="34" charset="0"/>
              <a:cs typeface="Calibri" panose="020F0502020204030204" pitchFamily="34" charset="0"/>
            </a:rPr>
            <a:t>MoEUCC</a:t>
          </a:r>
          <a:r>
            <a:rPr lang="en-US" sz="1400" kern="1200" dirty="0" smtClean="0">
              <a:latin typeface="Calibri" panose="020F0502020204030204" pitchFamily="34" charset="0"/>
              <a:cs typeface="Calibri" panose="020F0502020204030204" pitchFamily="34" charset="0"/>
            </a:rPr>
            <a:t>)</a:t>
          </a:r>
          <a:endParaRPr lang="tr-TR" sz="1400" kern="1200" dirty="0">
            <a:latin typeface="Calibri" panose="020F0502020204030204" pitchFamily="34" charset="0"/>
            <a:cs typeface="Calibri" panose="020F0502020204030204" pitchFamily="34" charset="0"/>
          </a:endParaRPr>
        </a:p>
      </dsp:txBody>
      <dsp:txXfrm>
        <a:off x="3352679" y="1210858"/>
        <a:ext cx="2876338" cy="951336"/>
      </dsp:txXfrm>
    </dsp:sp>
    <dsp:sp modelId="{F9980264-8312-4092-83DF-319E998FB78F}">
      <dsp:nvSpPr>
        <dsp:cNvPr id="0" name=""/>
        <dsp:cNvSpPr/>
      </dsp:nvSpPr>
      <dsp:spPr>
        <a:xfrm>
          <a:off x="2401342" y="2333435"/>
          <a:ext cx="951336" cy="951336"/>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3000" r="-3000"/>
          </a:stretch>
        </a:blipFill>
        <a:ln>
          <a:noFill/>
        </a:ln>
        <a:effectLst/>
        <a:scene3d>
          <a:camera prst="orthographicFront"/>
          <a:lightRig rig="threePt" dir="t">
            <a:rot lat="0" lon="0" rev="7500000"/>
          </a:lightRig>
        </a:scene3d>
        <a:sp3d z="254000" extrusionH="63500" contourW="12700" prstMaterial="matte">
          <a:contourClr>
            <a:schemeClr val="lt1"/>
          </a:contourClr>
        </a:sp3d>
      </dsp:spPr>
      <dsp:style>
        <a:lnRef idx="0">
          <a:scrgbClr r="0" g="0" b="0"/>
        </a:lnRef>
        <a:fillRef idx="1">
          <a:scrgbClr r="0" g="0" b="0"/>
        </a:fillRef>
        <a:effectRef idx="0">
          <a:scrgbClr r="0" g="0" b="0"/>
        </a:effectRef>
        <a:fontRef idx="minor"/>
      </dsp:style>
    </dsp:sp>
    <dsp:sp modelId="{A2672603-3545-40E2-A61B-02146E9E85D3}">
      <dsp:nvSpPr>
        <dsp:cNvPr id="0" name=""/>
        <dsp:cNvSpPr/>
      </dsp:nvSpPr>
      <dsp:spPr>
        <a:xfrm>
          <a:off x="3352679" y="2333435"/>
          <a:ext cx="3390035" cy="951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17780" rIns="35560" bIns="17780" numCol="1" spcCol="1270" anchor="ctr" anchorCtr="0">
          <a:noAutofit/>
        </a:bodyPr>
        <a:lstStyle/>
        <a:p>
          <a:pPr lvl="0" algn="l" defTabSz="622300">
            <a:lnSpc>
              <a:spcPct val="90000"/>
            </a:lnSpc>
            <a:spcBef>
              <a:spcPct val="0"/>
            </a:spcBef>
            <a:spcAft>
              <a:spcPct val="35000"/>
            </a:spcAft>
          </a:pPr>
          <a:r>
            <a:rPr lang="en-US" sz="1400" b="1" kern="1200" dirty="0" smtClean="0">
              <a:latin typeface="Calibri" panose="020F0502020204030204" pitchFamily="34" charset="0"/>
              <a:cs typeface="Calibri" panose="020F0502020204030204" pitchFamily="34" charset="0"/>
            </a:rPr>
            <a:t>Contractual Structure</a:t>
          </a:r>
          <a:endParaRPr lang="tr-TR" sz="1400" b="1" kern="1200" dirty="0" smtClean="0">
            <a:latin typeface="Calibri" panose="020F0502020204030204" pitchFamily="34" charset="0"/>
            <a:cs typeface="Calibri" panose="020F0502020204030204" pitchFamily="34" charset="0"/>
          </a:endParaRPr>
        </a:p>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Grant-financed public program</a:t>
          </a:r>
          <a:endParaRPr lang="tr-TR" sz="1400" kern="1200" dirty="0">
            <a:latin typeface="Calibri" panose="020F0502020204030204" pitchFamily="34" charset="0"/>
            <a:cs typeface="Calibri" panose="020F0502020204030204" pitchFamily="34" charset="0"/>
          </a:endParaRPr>
        </a:p>
      </dsp:txBody>
      <dsp:txXfrm>
        <a:off x="3352679" y="2333435"/>
        <a:ext cx="3390035" cy="95133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9/2025</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29/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2324236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e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e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4.v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25.vml"/><Relationship Id="rId5" Type="http://schemas.openxmlformats.org/officeDocument/2006/relationships/image" Target="../media/image10.emf"/><Relationship Id="rId4" Type="http://schemas.openxmlformats.org/officeDocument/2006/relationships/oleObject" Target="../embeddings/oleObject25.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4"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0"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2"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4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A20E25-1042-466C-B185-3AD5086F356E}"/>
              </a:ext>
            </a:extLst>
          </p:cNvPr>
          <p:cNvGraphicFramePr>
            <a:graphicFrameLocks noChangeAspect="1"/>
          </p:cNvGraphicFramePr>
          <p:nvPr userDrawn="1">
            <p:custDataLst>
              <p:tags r:id="rId2"/>
            </p:custDataLst>
            <p:extLst>
              <p:ext uri="{D42A27DB-BD31-4B8C-83A1-F6EECF244321}">
                <p14:modId xmlns:p14="http://schemas.microsoft.com/office/powerpoint/2010/main" val="1653313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6"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ADA20E25-1042-466C-B185-3AD5086F35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07116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C516A1-5BCF-4149-8FBB-EC27DDD4F90C}"/>
              </a:ext>
            </a:extLst>
          </p:cNvPr>
          <p:cNvGraphicFramePr>
            <a:graphicFrameLocks noChangeAspect="1"/>
          </p:cNvGraphicFramePr>
          <p:nvPr userDrawn="1">
            <p:custDataLst>
              <p:tags r:id="rId2"/>
            </p:custDataLst>
            <p:extLst>
              <p:ext uri="{D42A27DB-BD31-4B8C-83A1-F6EECF244321}">
                <p14:modId xmlns:p14="http://schemas.microsoft.com/office/powerpoint/2010/main" val="30985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0"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D2C516A1-5BCF-4149-8FBB-EC27DDD4F9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a:defRPr sz="5400">
                <a:solidFill>
                  <a:srgbClr val="2E3558"/>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E355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820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62AD15-DE2A-473A-A3DE-7674D3FD4B2D}"/>
              </a:ext>
            </a:extLst>
          </p:cNvPr>
          <p:cNvGraphicFramePr>
            <a:graphicFrameLocks noChangeAspect="1"/>
          </p:cNvGraphicFramePr>
          <p:nvPr userDrawn="1">
            <p:custDataLst>
              <p:tags r:id="rId2"/>
            </p:custDataLst>
            <p:extLst>
              <p:ext uri="{D42A27DB-BD31-4B8C-83A1-F6EECF244321}">
                <p14:modId xmlns:p14="http://schemas.microsoft.com/office/powerpoint/2010/main" val="26581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4"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7562AD15-DE2A-473A-A3DE-7674D3FD4B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74928D9-6048-4E78-B04E-A4A4D9B6D838}"/>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p:cNvSpPr>
            <a:spLocks noGrp="1"/>
          </p:cNvSpPr>
          <p:nvPr>
            <p:ph type="title" hasCustomPrompt="1"/>
          </p:nvPr>
        </p:nvSpPr>
        <p:spPr>
          <a:xfrm>
            <a:off x="630000" y="327833"/>
            <a:ext cx="10933350" cy="332399"/>
          </a:xfrm>
          <a:prstGeom prst="rect">
            <a:avLst/>
          </a:prstGeom>
        </p:spPr>
        <p:txBody>
          <a:bodyPr vert="horz"/>
          <a:lstStyle>
            <a:lvl1pPr>
              <a:defRPr>
                <a:solidFill>
                  <a:srgbClr val="FFFFFF"/>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219354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62AD15-DE2A-473A-A3DE-7674D3FD4B2D}"/>
              </a:ext>
            </a:extLst>
          </p:cNvPr>
          <p:cNvGraphicFramePr>
            <a:graphicFrameLocks noChangeAspect="1"/>
          </p:cNvGraphicFramePr>
          <p:nvPr userDrawn="1">
            <p:custDataLst>
              <p:tags r:id="rId2"/>
            </p:custDataLst>
            <p:extLst>
              <p:ext uri="{D42A27DB-BD31-4B8C-83A1-F6EECF244321}">
                <p14:modId xmlns:p14="http://schemas.microsoft.com/office/powerpoint/2010/main" val="26581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2"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7562AD15-DE2A-473A-A3DE-7674D3FD4B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74928D9-6048-4E78-B04E-A4A4D9B6D838}"/>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p:cNvSpPr>
            <a:spLocks noGrp="1"/>
          </p:cNvSpPr>
          <p:nvPr>
            <p:ph type="title" hasCustomPrompt="1"/>
          </p:nvPr>
        </p:nvSpPr>
        <p:spPr>
          <a:xfrm>
            <a:off x="630000" y="327833"/>
            <a:ext cx="10933350" cy="332399"/>
          </a:xfrm>
          <a:prstGeom prst="rect">
            <a:avLst/>
          </a:prstGeom>
        </p:spPr>
        <p:txBody>
          <a:bodyPr vert="horz"/>
          <a:lstStyle>
            <a:lvl1pPr>
              <a:defRPr>
                <a:solidFill>
                  <a:srgbClr val="FFFFFF"/>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059827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C516A1-5BCF-4149-8FBB-EC27DDD4F90C}"/>
              </a:ext>
            </a:extLst>
          </p:cNvPr>
          <p:cNvGraphicFramePr>
            <a:graphicFrameLocks noChangeAspect="1"/>
          </p:cNvGraphicFramePr>
          <p:nvPr userDrawn="1">
            <p:custDataLst>
              <p:tags r:id="rId2"/>
            </p:custDataLst>
            <p:extLst>
              <p:ext uri="{D42A27DB-BD31-4B8C-83A1-F6EECF244321}">
                <p14:modId xmlns:p14="http://schemas.microsoft.com/office/powerpoint/2010/main" val="30985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6"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D2C516A1-5BCF-4149-8FBB-EC27DDD4F9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a:defRPr sz="5400">
                <a:solidFill>
                  <a:srgbClr val="2E3558"/>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E355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088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oleObject" Target="../embeddings/oleObject19.bin"/><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tags" Target="../tags/tag32.xml"/><Relationship Id="rId5" Type="http://schemas.openxmlformats.org/officeDocument/2006/relationships/vmlDrawing" Target="../drawings/vmlDrawing19.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oleObject" Target="../embeddings/oleObject23.bin"/><Relationship Id="rId5" Type="http://schemas.openxmlformats.org/officeDocument/2006/relationships/tags" Target="../tags/tag36.xml"/><Relationship Id="rId4" Type="http://schemas.openxmlformats.org/officeDocument/2006/relationships/vmlDrawing" Target="../drawings/vmlDrawing2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0"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1552194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32"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26927467"/>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771602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8"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51726DD-2250-497E-BCDF-D3B37765041D}"/>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a:extLst>
              <a:ext uri="{FF2B5EF4-FFF2-40B4-BE49-F238E27FC236}">
                <a16:creationId xmlns:a16="http://schemas.microsoft.com/office/drawing/2014/main" id="{39D71B02-156B-4CF9-8C4D-854B9113DC1B}"/>
              </a:ext>
            </a:extLst>
          </p:cNvPr>
          <p:cNvSpPr txBox="1">
            <a:spLocks/>
          </p:cNvSpPr>
          <p:nvPr userDrawn="1"/>
        </p:nvSpPr>
        <p:spPr>
          <a:xfrm>
            <a:off x="630000" y="327833"/>
            <a:ext cx="10933350" cy="332399"/>
          </a:xfrm>
          <a:prstGeom prst="rect">
            <a:avLst/>
          </a:prstGeom>
        </p:spPr>
        <p:txBody>
          <a:bodyPr vert="horz"/>
          <a:lstStyle>
            <a:lvl1pPr algn="l" defTabSz="914400" rtl="0" eaLnBrk="1" latinLnBrk="0" hangingPunct="1">
              <a:lnSpc>
                <a:spcPct val="90000"/>
              </a:lnSpc>
              <a:spcBef>
                <a:spcPct val="0"/>
              </a:spcBef>
              <a:buNone/>
              <a:defRPr sz="2400" kern="1200">
                <a:solidFill>
                  <a:srgbClr val="FFFFFF"/>
                </a:solidFill>
                <a:latin typeface="Calibri" panose="020F0502020204030204" pitchFamily="34" charset="0"/>
                <a:ea typeface="+mj-ea"/>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08589861"/>
      </p:ext>
    </p:extLst>
  </p:cSld>
  <p:clrMap bg1="lt1" tx1="dk1" bg2="lt2" tx2="dk2" accent1="accent1" accent2="accent2" accent3="accent3" accent4="accent4" accent5="accent5" accent6="accent6" hlink="hlink" folHlink="folHlink"/>
  <p:sldLayoutIdLst>
    <p:sldLayoutId id="2147485190" r:id="rId1"/>
    <p:sldLayoutId id="2147485191"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Layout" Target="../slideLayouts/slideLayout70.xml"/><Relationship Id="rId7" Type="http://schemas.openxmlformats.org/officeDocument/2006/relationships/slide" Target="slide3.xml"/><Relationship Id="rId2" Type="http://schemas.openxmlformats.org/officeDocument/2006/relationships/tags" Target="../tags/tag39.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10" Type="http://schemas.openxmlformats.org/officeDocument/2006/relationships/slide" Target="slide4.xml"/><Relationship Id="rId4" Type="http://schemas.openxmlformats.org/officeDocument/2006/relationships/notesSlide" Target="../notesSlides/notesSlide1.xml"/><Relationship Id="rId9" Type="http://schemas.openxmlformats.org/officeDocument/2006/relationships/slide" Target="slide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slide" Target="slide2.xml"/><Relationship Id="rId2" Type="http://schemas.openxmlformats.org/officeDocument/2006/relationships/diagramData" Target="../diagrams/data1.xml"/><Relationship Id="rId1" Type="http://schemas.openxmlformats.org/officeDocument/2006/relationships/slideLayout" Target="../slideLayouts/slideLayout7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slide" Target="slide2.xml"/><Relationship Id="rId2" Type="http://schemas.openxmlformats.org/officeDocument/2006/relationships/diagramData" Target="../diagrams/data2.xml"/><Relationship Id="rId1" Type="http://schemas.openxmlformats.org/officeDocument/2006/relationships/slideLayout" Target="../slideLayouts/slideLayout7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slide" Target="slide2.xml"/><Relationship Id="rId2" Type="http://schemas.openxmlformats.org/officeDocument/2006/relationships/diagramData" Target="../diagrams/data3.xml"/><Relationship Id="rId1" Type="http://schemas.openxmlformats.org/officeDocument/2006/relationships/slideLayout" Target="../slideLayouts/slideLayout7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slide" Target="slide2.xml"/><Relationship Id="rId2" Type="http://schemas.openxmlformats.org/officeDocument/2006/relationships/diagramData" Target="../diagrams/data4.xml"/><Relationship Id="rId1" Type="http://schemas.openxmlformats.org/officeDocument/2006/relationships/slideLayout" Target="../slideLayouts/slideLayout7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0.xml"/><Relationship Id="rId5" Type="http://schemas.openxmlformats.org/officeDocument/2006/relationships/slide" Target="slide2.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kdörtgen 2"/>
          <p:cNvSpPr/>
          <p:nvPr/>
        </p:nvSpPr>
        <p:spPr>
          <a:xfrm>
            <a:off x="2951676" y="2210574"/>
            <a:ext cx="6234655" cy="3970318"/>
          </a:xfrm>
          <a:prstGeom prst="rect">
            <a:avLst/>
          </a:prstGeom>
        </p:spPr>
        <p:txBody>
          <a:bodyPr wrap="none">
            <a:spAutoFit/>
          </a:bodyPr>
          <a:lstStyle/>
          <a:p>
            <a:pPr algn="ctr"/>
            <a:r>
              <a:rPr lang="en-US" sz="4400" b="1" dirty="0">
                <a:latin typeface="Calibri" panose="020F0502020204030204" pitchFamily="34" charset="0"/>
                <a:cs typeface="Calibri" panose="020F0502020204030204" pitchFamily="34" charset="0"/>
              </a:rPr>
              <a:t>The Second Climate </a:t>
            </a:r>
            <a:r>
              <a:rPr lang="en-US" sz="4400" b="1" dirty="0" smtClean="0">
                <a:latin typeface="Calibri" panose="020F0502020204030204" pitchFamily="34" charset="0"/>
                <a:cs typeface="Calibri" panose="020F0502020204030204" pitchFamily="34" charset="0"/>
              </a:rPr>
              <a:t>Week</a:t>
            </a:r>
            <a:endParaRPr lang="tr-TR" sz="4400" b="1" dirty="0" smtClean="0">
              <a:latin typeface="Calibri" panose="020F0502020204030204" pitchFamily="34" charset="0"/>
              <a:cs typeface="Calibri" panose="020F0502020204030204" pitchFamily="34" charset="0"/>
            </a:endParaRPr>
          </a:p>
          <a:p>
            <a:pPr algn="ctr"/>
            <a:endParaRPr lang="tr-TR" sz="4400" b="1" dirty="0">
              <a:latin typeface="Calibri" panose="020F0502020204030204" pitchFamily="34" charset="0"/>
              <a:cs typeface="Calibri" panose="020F0502020204030204" pitchFamily="34" charset="0"/>
            </a:endParaRPr>
          </a:p>
          <a:p>
            <a:pPr algn="ctr"/>
            <a:endParaRPr lang="tr-TR" sz="4400" b="1" dirty="0" smtClean="0">
              <a:latin typeface="Calibri" panose="020F0502020204030204" pitchFamily="34" charset="0"/>
              <a:cs typeface="Calibri" panose="020F0502020204030204" pitchFamily="34" charset="0"/>
            </a:endParaRPr>
          </a:p>
          <a:p>
            <a:pPr algn="ctr"/>
            <a:endParaRPr lang="tr-TR" sz="4400" b="1" dirty="0">
              <a:latin typeface="Calibri" panose="020F0502020204030204" pitchFamily="34" charset="0"/>
              <a:cs typeface="Calibri" panose="020F0502020204030204" pitchFamily="34" charset="0"/>
            </a:endParaRPr>
          </a:p>
          <a:p>
            <a:pPr algn="ctr"/>
            <a:endParaRPr lang="tr-TR" sz="4400" b="1" dirty="0">
              <a:latin typeface="Calibri" panose="020F0502020204030204" pitchFamily="34" charset="0"/>
              <a:cs typeface="Calibri" panose="020F0502020204030204" pitchFamily="34" charset="0"/>
            </a:endParaRPr>
          </a:p>
          <a:p>
            <a:pPr algn="ctr"/>
            <a:r>
              <a:rPr lang="en-US" sz="1600" dirty="0" smtClean="0">
                <a:latin typeface="Calibri" panose="020F0502020204030204" pitchFamily="34" charset="0"/>
                <a:cs typeface="Calibri" panose="020F0502020204030204" pitchFamily="34" charset="0"/>
              </a:rPr>
              <a:t>Addis </a:t>
            </a:r>
            <a:r>
              <a:rPr lang="en-US" sz="1600" dirty="0">
                <a:latin typeface="Calibri" panose="020F0502020204030204" pitchFamily="34" charset="0"/>
                <a:cs typeface="Calibri" panose="020F0502020204030204" pitchFamily="34" charset="0"/>
              </a:rPr>
              <a:t>Ababa, </a:t>
            </a:r>
            <a:r>
              <a:rPr lang="en-US" sz="1600" dirty="0" smtClean="0">
                <a:latin typeface="Calibri" panose="020F0502020204030204" pitchFamily="34" charset="0"/>
                <a:cs typeface="Calibri" panose="020F0502020204030204" pitchFamily="34" charset="0"/>
              </a:rPr>
              <a:t>Ethiopia</a:t>
            </a:r>
            <a:endParaRPr lang="tr-TR" sz="1600" dirty="0">
              <a:latin typeface="Calibri" panose="020F0502020204030204" pitchFamily="34" charset="0"/>
              <a:cs typeface="Calibri" panose="020F0502020204030204" pitchFamily="34" charset="0"/>
            </a:endParaRPr>
          </a:p>
          <a:p>
            <a:pPr algn="ctr"/>
            <a:r>
              <a:rPr lang="en-US" sz="1600" dirty="0" smtClean="0">
                <a:latin typeface="Calibri" panose="020F0502020204030204" pitchFamily="34" charset="0"/>
                <a:cs typeface="Calibri" panose="020F0502020204030204" pitchFamily="34" charset="0"/>
              </a:rPr>
              <a:t>1</a:t>
            </a:r>
            <a:r>
              <a:rPr lang="tr-TR" sz="1600" dirty="0" smtClean="0">
                <a:latin typeface="Calibri" panose="020F0502020204030204" pitchFamily="34" charset="0"/>
                <a:cs typeface="Calibri" panose="020F0502020204030204" pitchFamily="34" charset="0"/>
              </a:rPr>
              <a:t> -</a:t>
            </a:r>
            <a:r>
              <a:rPr lang="en-US" sz="1600" dirty="0" smtClean="0">
                <a:latin typeface="Calibri" panose="020F0502020204030204" pitchFamily="34" charset="0"/>
                <a:cs typeface="Calibri" panose="020F0502020204030204" pitchFamily="34" charset="0"/>
              </a:rPr>
              <a:t> </a:t>
            </a:r>
            <a:r>
              <a:rPr lang="en-US" sz="1600" dirty="0">
                <a:latin typeface="Calibri" panose="020F0502020204030204" pitchFamily="34" charset="0"/>
                <a:cs typeface="Calibri" panose="020F0502020204030204" pitchFamily="34" charset="0"/>
              </a:rPr>
              <a:t>6 September </a:t>
            </a:r>
            <a:r>
              <a:rPr lang="en-US" sz="1600" dirty="0" smtClean="0">
                <a:latin typeface="Calibri" panose="020F0502020204030204" pitchFamily="34" charset="0"/>
                <a:cs typeface="Calibri" panose="020F0502020204030204" pitchFamily="34" charset="0"/>
              </a:rPr>
              <a:t>2025</a:t>
            </a:r>
            <a:endParaRPr lang="tr-TR" sz="1600" dirty="0">
              <a:latin typeface="Calibri" panose="020F0502020204030204" pitchFamily="34" charset="0"/>
              <a:cs typeface="Calibri" panose="020F0502020204030204" pitchFamily="34" charset="0"/>
            </a:endParaRPr>
          </a:p>
        </p:txBody>
      </p:sp>
      <p:sp>
        <p:nvSpPr>
          <p:cNvPr id="4" name="Dikdörtgen 3"/>
          <p:cNvSpPr/>
          <p:nvPr/>
        </p:nvSpPr>
        <p:spPr>
          <a:xfrm>
            <a:off x="161319" y="3206139"/>
            <a:ext cx="11815371" cy="646331"/>
          </a:xfrm>
          <a:prstGeom prst="rect">
            <a:avLst/>
          </a:prstGeom>
        </p:spPr>
        <p:txBody>
          <a:bodyPr wrap="square">
            <a:spAutoFit/>
          </a:bodyPr>
          <a:lstStyle/>
          <a:p>
            <a:pPr algn="ctr"/>
            <a:r>
              <a:rPr lang="en-US" b="1" dirty="0">
                <a:solidFill>
                  <a:srgbClr val="002060"/>
                </a:solidFill>
                <a:latin typeface="Calibri" panose="020F0502020204030204" pitchFamily="34" charset="0"/>
                <a:cs typeface="Calibri" panose="020F0502020204030204" pitchFamily="34" charset="0"/>
              </a:rPr>
              <a:t>Sixth investment-focused event under the </a:t>
            </a:r>
            <a:r>
              <a:rPr lang="en-US" b="1" dirty="0" err="1">
                <a:solidFill>
                  <a:srgbClr val="002060"/>
                </a:solidFill>
                <a:latin typeface="Calibri" panose="020F0502020204030204" pitchFamily="34" charset="0"/>
                <a:cs typeface="Calibri" panose="020F0502020204030204" pitchFamily="34" charset="0"/>
              </a:rPr>
              <a:t>Sharm</a:t>
            </a:r>
            <a:r>
              <a:rPr lang="en-US" b="1" dirty="0">
                <a:solidFill>
                  <a:srgbClr val="002060"/>
                </a:solidFill>
                <a:latin typeface="Calibri" panose="020F0502020204030204" pitchFamily="34" charset="0"/>
                <a:cs typeface="Calibri" panose="020F0502020204030204" pitchFamily="34" charset="0"/>
              </a:rPr>
              <a:t> el-Sheikh mitigation ambition and implementation work </a:t>
            </a:r>
            <a:r>
              <a:rPr lang="en-US" b="1" dirty="0" err="1" smtClean="0">
                <a:solidFill>
                  <a:srgbClr val="002060"/>
                </a:solidFill>
                <a:latin typeface="Calibri" panose="020F0502020204030204" pitchFamily="34" charset="0"/>
                <a:cs typeface="Calibri" panose="020F0502020204030204" pitchFamily="34" charset="0"/>
              </a:rPr>
              <a:t>programme</a:t>
            </a:r>
            <a:r>
              <a:rPr lang="en-US" b="1" dirty="0" smtClean="0">
                <a:solidFill>
                  <a:srgbClr val="002060"/>
                </a:solidFill>
                <a:latin typeface="Calibri" panose="020F0502020204030204" pitchFamily="34" charset="0"/>
                <a:cs typeface="Calibri" panose="020F0502020204030204" pitchFamily="34" charset="0"/>
              </a:rPr>
              <a:t> </a:t>
            </a:r>
            <a:endParaRPr lang="tr-TR" b="1" dirty="0" smtClean="0">
              <a:solidFill>
                <a:srgbClr val="002060"/>
              </a:solidFill>
              <a:latin typeface="Calibri" panose="020F0502020204030204" pitchFamily="34" charset="0"/>
              <a:cs typeface="Calibri" panose="020F0502020204030204" pitchFamily="34" charset="0"/>
            </a:endParaRPr>
          </a:p>
          <a:p>
            <a:pPr algn="ctr"/>
            <a:r>
              <a:rPr lang="tr-TR" b="1" dirty="0" err="1" smtClean="0">
                <a:solidFill>
                  <a:srgbClr val="002060"/>
                </a:solidFill>
                <a:latin typeface="Calibri" panose="020F0502020204030204" pitchFamily="34" charset="0"/>
                <a:cs typeface="Calibri" panose="020F0502020204030204" pitchFamily="34" charset="0"/>
              </a:rPr>
              <a:t>Türkiye’s</a:t>
            </a:r>
            <a:r>
              <a:rPr lang="tr-TR" b="1" dirty="0" smtClean="0">
                <a:solidFill>
                  <a:srgbClr val="002060"/>
                </a:solidFill>
                <a:latin typeface="Calibri" panose="020F0502020204030204" pitchFamily="34" charset="0"/>
                <a:cs typeface="Calibri" panose="020F0502020204030204" pitchFamily="34" charset="0"/>
              </a:rPr>
              <a:t> </a:t>
            </a:r>
            <a:r>
              <a:rPr lang="en-US" b="1" dirty="0" smtClean="0">
                <a:solidFill>
                  <a:srgbClr val="002060"/>
                </a:solidFill>
                <a:latin typeface="Calibri" panose="020F0502020204030204" pitchFamily="34" charset="0"/>
                <a:cs typeface="Calibri" panose="020F0502020204030204" pitchFamily="34" charset="0"/>
              </a:rPr>
              <a:t>project </a:t>
            </a:r>
            <a:r>
              <a:rPr lang="en-US" b="1" dirty="0">
                <a:solidFill>
                  <a:srgbClr val="002060"/>
                </a:solidFill>
                <a:latin typeface="Calibri" panose="020F0502020204030204" pitchFamily="34" charset="0"/>
                <a:cs typeface="Calibri" panose="020F0502020204030204" pitchFamily="34" charset="0"/>
              </a:rPr>
              <a:t>concept note for the pitch hub </a:t>
            </a:r>
            <a:endParaRPr lang="tr-TR" b="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36770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9163B9-59D8-4692-8262-CF1EC1DA2A25}"/>
              </a:ext>
            </a:extLst>
          </p:cNvPr>
          <p:cNvGraphicFramePr>
            <a:graphicFrameLocks noChangeAspect="1"/>
          </p:cNvGraphicFramePr>
          <p:nvPr>
            <p:custDataLst>
              <p:tags r:id="rId2"/>
            </p:custDataLst>
            <p:extLst>
              <p:ext uri="{D42A27DB-BD31-4B8C-83A1-F6EECF244321}">
                <p14:modId xmlns:p14="http://schemas.microsoft.com/office/powerpoint/2010/main" val="368324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43" name="think-cell Slide" r:id="rId5" imgW="473" imgH="476" progId="TCLayout.ActiveDocument.1">
                  <p:embed/>
                </p:oleObj>
              </mc:Choice>
              <mc:Fallback>
                <p:oleObj name="think-cell Slide" r:id="rId5" imgW="473" imgH="476" progId="TCLayout.ActiveDocument.1">
                  <p:embed/>
                  <p:pic>
                    <p:nvPicPr>
                      <p:cNvPr id="2" name="Object 1" hidden="1">
                        <a:extLst>
                          <a:ext uri="{FF2B5EF4-FFF2-40B4-BE49-F238E27FC236}">
                            <a16:creationId xmlns:a16="http://schemas.microsoft.com/office/drawing/2014/main" id="{E99163B9-59D8-4692-8262-CF1EC1DA2A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138197"/>
            <a:ext cx="10933350" cy="925102"/>
          </a:xfrm>
        </p:spPr>
        <p:txBody>
          <a:bodyPr vert="horz"/>
          <a:lstStyle/>
          <a:p>
            <a:pPr algn="ctr"/>
            <a:r>
              <a:rPr lang="en-US" b="1" dirty="0" smtClean="0"/>
              <a:t>STRENGTHENING </a:t>
            </a:r>
            <a:r>
              <a:rPr lang="en-US" b="1" dirty="0"/>
              <a:t>INSTITUTIONAL AND TECHNICAL CAPACITY IN </a:t>
            </a:r>
            <a:r>
              <a:rPr lang="en-US" b="1" dirty="0" smtClean="0"/>
              <a:t>TÜRK</a:t>
            </a:r>
            <a:r>
              <a:rPr lang="tr-TR" b="1" dirty="0"/>
              <a:t>İ</a:t>
            </a:r>
            <a:r>
              <a:rPr lang="en-US" b="1" dirty="0" smtClean="0"/>
              <a:t>YE’S </a:t>
            </a:r>
            <a:r>
              <a:rPr lang="en-US" b="1" dirty="0"/>
              <a:t>AFOLU SECTOR FOR NDC IMPLEMENTATION AND THE 2053 NET-ZERO TARGET</a:t>
            </a:r>
            <a:r>
              <a:rPr lang="en-US" sz="2000" b="1" dirty="0"/>
              <a:t/>
            </a:r>
            <a:br>
              <a:rPr lang="en-US" sz="2000" b="1" dirty="0"/>
            </a:br>
            <a:r>
              <a:rPr lang="en-US" dirty="0"/>
              <a:t> </a:t>
            </a:r>
          </a:p>
        </p:txBody>
      </p:sp>
      <p:sp>
        <p:nvSpPr>
          <p:cNvPr id="5" name="Rectangle 4">
            <a:extLst>
              <a:ext uri="{FF2B5EF4-FFF2-40B4-BE49-F238E27FC236}">
                <a16:creationId xmlns:a16="http://schemas.microsoft.com/office/drawing/2014/main" id="{B649F9A4-5736-4E33-A7AE-BEF8602D286A}"/>
              </a:ext>
            </a:extLst>
          </p:cNvPr>
          <p:cNvSpPr/>
          <p:nvPr/>
        </p:nvSpPr>
        <p:spPr>
          <a:xfrm>
            <a:off x="630359" y="1449800"/>
            <a:ext cx="7574134" cy="1761670"/>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lvl="0" eaLnBrk="0" fontAlgn="base" hangingPunct="0">
              <a:spcBef>
                <a:spcPct val="0"/>
              </a:spcBef>
              <a:spcAft>
                <a:spcPct val="0"/>
              </a:spcAft>
            </a:pPr>
            <a:endParaRPr lang="tr-TR" altLang="tr-TR" sz="900" dirty="0">
              <a:solidFill>
                <a:schemeClr val="tx1"/>
              </a:solidFill>
              <a:latin typeface="Arial" panose="020B0604020202020204" pitchFamily="34" charset="0"/>
            </a:endParaRPr>
          </a:p>
          <a:p>
            <a:pPr marL="285750" lvl="0" indent="-285750" eaLnBrk="0" fontAlgn="base" hangingPunct="0">
              <a:spcBef>
                <a:spcPct val="0"/>
              </a:spcBef>
              <a:spcAft>
                <a:spcPct val="0"/>
              </a:spcAft>
              <a:buFont typeface="Wingdings" panose="05000000000000000000" pitchFamily="2" charset="2"/>
              <a:buChar char="§"/>
            </a:pPr>
            <a:r>
              <a:rPr lang="tr-TR" altLang="tr-TR" sz="1600" dirty="0" err="1" smtClean="0">
                <a:solidFill>
                  <a:schemeClr val="tx1"/>
                </a:solidFill>
                <a:latin typeface="Calibri" panose="020F0502020204030204" pitchFamily="34" charset="0"/>
                <a:cs typeface="Calibri" panose="020F0502020204030204" pitchFamily="34" charset="0"/>
              </a:rPr>
              <a:t>Aligned</a:t>
            </a:r>
            <a:r>
              <a:rPr lang="tr-TR" altLang="tr-TR" sz="1600" dirty="0" smtClean="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with</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Türkiye’s</a:t>
            </a:r>
            <a:r>
              <a:rPr lang="tr-TR" altLang="tr-TR" sz="1600" b="1" dirty="0">
                <a:solidFill>
                  <a:schemeClr val="tx1"/>
                </a:solidFill>
                <a:latin typeface="Calibri" panose="020F0502020204030204" pitchFamily="34" charset="0"/>
                <a:cs typeface="Calibri" panose="020F0502020204030204" pitchFamily="34" charset="0"/>
              </a:rPr>
              <a:t> 2053 net-</a:t>
            </a:r>
            <a:r>
              <a:rPr lang="tr-TR" altLang="tr-TR" sz="1600" b="1" dirty="0" err="1">
                <a:solidFill>
                  <a:schemeClr val="tx1"/>
                </a:solidFill>
                <a:latin typeface="Calibri" panose="020F0502020204030204" pitchFamily="34" charset="0"/>
                <a:cs typeface="Calibri" panose="020F0502020204030204" pitchFamily="34" charset="0"/>
              </a:rPr>
              <a:t>zero</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target</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and</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updated</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b="1" dirty="0">
                <a:solidFill>
                  <a:schemeClr val="tx1"/>
                </a:solidFill>
                <a:latin typeface="Calibri" panose="020F0502020204030204" pitchFamily="34" charset="0"/>
                <a:cs typeface="Calibri" panose="020F0502020204030204" pitchFamily="34" charset="0"/>
              </a:rPr>
              <a:t>NDC </a:t>
            </a:r>
            <a:r>
              <a:rPr lang="tr-TR" altLang="tr-TR" sz="1600" b="1" dirty="0" err="1">
                <a:solidFill>
                  <a:schemeClr val="tx1"/>
                </a:solidFill>
                <a:latin typeface="Calibri" panose="020F0502020204030204" pitchFamily="34" charset="0"/>
                <a:cs typeface="Calibri" panose="020F0502020204030204" pitchFamily="34" charset="0"/>
              </a:rPr>
              <a:t>process</a:t>
            </a:r>
            <a:endParaRPr lang="tr-TR" altLang="tr-TR" sz="1600" dirty="0">
              <a:solidFill>
                <a:schemeClr val="tx1"/>
              </a:solidFill>
              <a:latin typeface="Calibri" panose="020F0502020204030204" pitchFamily="34" charset="0"/>
              <a:cs typeface="Calibri" panose="020F0502020204030204" pitchFamily="34" charset="0"/>
            </a:endParaRPr>
          </a:p>
          <a:p>
            <a:pPr marL="285750" lvl="0" indent="-285750" eaLnBrk="0" fontAlgn="base" hangingPunct="0">
              <a:spcBef>
                <a:spcPct val="0"/>
              </a:spcBef>
              <a:spcAft>
                <a:spcPct val="0"/>
              </a:spcAft>
              <a:buFont typeface="Wingdings" panose="05000000000000000000" pitchFamily="2" charset="2"/>
              <a:buChar char="§"/>
            </a:pPr>
            <a:r>
              <a:rPr lang="tr-TR" altLang="tr-TR" sz="1600" b="1" dirty="0">
                <a:solidFill>
                  <a:schemeClr val="tx1"/>
                </a:solidFill>
                <a:latin typeface="Calibri" panose="020F0502020204030204" pitchFamily="34" charset="0"/>
                <a:cs typeface="Calibri" panose="020F0502020204030204" pitchFamily="34" charset="0"/>
              </a:rPr>
              <a:t>AFOLU </a:t>
            </a:r>
            <a:r>
              <a:rPr lang="tr-TR" altLang="tr-TR" sz="1600" b="1" dirty="0" err="1">
                <a:solidFill>
                  <a:schemeClr val="tx1"/>
                </a:solidFill>
                <a:latin typeface="Calibri" panose="020F0502020204030204" pitchFamily="34" charset="0"/>
                <a:cs typeface="Calibri" panose="020F0502020204030204" pitchFamily="34" charset="0"/>
              </a:rPr>
              <a:t>sector</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high</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carbon</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sink</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capacity</a:t>
            </a:r>
            <a:r>
              <a:rPr lang="tr-TR" altLang="tr-TR" sz="1600" dirty="0">
                <a:solidFill>
                  <a:schemeClr val="tx1"/>
                </a:solidFill>
                <a:latin typeface="Calibri" panose="020F0502020204030204" pitchFamily="34" charset="0"/>
                <a:cs typeface="Calibri" panose="020F0502020204030204" pitchFamily="34" charset="0"/>
              </a:rPr>
              <a:t> &amp; </a:t>
            </a:r>
            <a:r>
              <a:rPr lang="tr-TR" altLang="tr-TR" sz="1600" dirty="0" err="1">
                <a:solidFill>
                  <a:schemeClr val="tx1"/>
                </a:solidFill>
                <a:latin typeface="Calibri" panose="020F0502020204030204" pitchFamily="34" charset="0"/>
                <a:cs typeface="Calibri" panose="020F0502020204030204" pitchFamily="34" charset="0"/>
              </a:rPr>
              <a:t>strong</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mitigation</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potential</a:t>
            </a:r>
            <a:endParaRPr lang="tr-TR" altLang="tr-TR" sz="1600" dirty="0">
              <a:solidFill>
                <a:schemeClr val="tx1"/>
              </a:solidFill>
              <a:latin typeface="Calibri" panose="020F0502020204030204" pitchFamily="34" charset="0"/>
              <a:cs typeface="Calibri" panose="020F0502020204030204" pitchFamily="34" charset="0"/>
            </a:endParaRPr>
          </a:p>
          <a:p>
            <a:pPr marL="285750" lvl="0" indent="-285750" eaLnBrk="0" fontAlgn="base" hangingPunct="0">
              <a:spcBef>
                <a:spcPct val="0"/>
              </a:spcBef>
              <a:spcAft>
                <a:spcPct val="0"/>
              </a:spcAft>
              <a:buFont typeface="Wingdings" panose="05000000000000000000" pitchFamily="2" charset="2"/>
              <a:buChar char="§"/>
            </a:pPr>
            <a:r>
              <a:rPr lang="tr-TR" altLang="tr-TR" sz="1600" b="1" dirty="0" err="1">
                <a:solidFill>
                  <a:schemeClr val="tx1"/>
                </a:solidFill>
                <a:latin typeface="Calibri" panose="020F0502020204030204" pitchFamily="34" charset="0"/>
                <a:cs typeface="Calibri" panose="020F0502020204030204" pitchFamily="34" charset="0"/>
              </a:rPr>
              <a:t>Capacity</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building</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strengthening</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institutions</a:t>
            </a:r>
            <a:r>
              <a:rPr lang="tr-TR" altLang="tr-TR" sz="1600" dirty="0">
                <a:solidFill>
                  <a:schemeClr val="tx1"/>
                </a:solidFill>
                <a:latin typeface="Calibri" panose="020F0502020204030204" pitchFamily="34" charset="0"/>
                <a:cs typeface="Calibri" panose="020F0502020204030204" pitchFamily="34" charset="0"/>
              </a:rPr>
              <a:t> &amp; </a:t>
            </a:r>
            <a:r>
              <a:rPr lang="tr-TR" altLang="tr-TR" sz="1600" dirty="0" err="1">
                <a:solidFill>
                  <a:schemeClr val="tx1"/>
                </a:solidFill>
                <a:latin typeface="Calibri" panose="020F0502020204030204" pitchFamily="34" charset="0"/>
                <a:cs typeface="Calibri" panose="020F0502020204030204" pitchFamily="34" charset="0"/>
              </a:rPr>
              <a:t>developing</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national</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experts</a:t>
            </a:r>
            <a:endParaRPr lang="tr-TR" altLang="tr-TR" sz="1600" dirty="0">
              <a:solidFill>
                <a:schemeClr val="tx1"/>
              </a:solidFill>
              <a:latin typeface="Calibri" panose="020F0502020204030204" pitchFamily="34" charset="0"/>
              <a:cs typeface="Calibri" panose="020F0502020204030204" pitchFamily="34" charset="0"/>
            </a:endParaRPr>
          </a:p>
          <a:p>
            <a:pPr marL="285750" lvl="0" indent="-285750" eaLnBrk="0" fontAlgn="base" hangingPunct="0">
              <a:spcBef>
                <a:spcPct val="0"/>
              </a:spcBef>
              <a:spcAft>
                <a:spcPct val="0"/>
              </a:spcAft>
              <a:buFont typeface="Wingdings" panose="05000000000000000000" pitchFamily="2" charset="2"/>
              <a:buChar char="§"/>
            </a:pPr>
            <a:r>
              <a:rPr lang="tr-TR" altLang="tr-TR" sz="1600" dirty="0">
                <a:solidFill>
                  <a:schemeClr val="tx1"/>
                </a:solidFill>
                <a:latin typeface="Calibri" panose="020F0502020204030204" pitchFamily="34" charset="0"/>
                <a:cs typeface="Calibri" panose="020F0502020204030204" pitchFamily="34" charset="0"/>
              </a:rPr>
              <a:t>Direct </a:t>
            </a:r>
            <a:r>
              <a:rPr lang="tr-TR" altLang="tr-TR" sz="1600" dirty="0" err="1">
                <a:solidFill>
                  <a:schemeClr val="tx1"/>
                </a:solidFill>
                <a:latin typeface="Calibri" panose="020F0502020204030204" pitchFamily="34" charset="0"/>
                <a:cs typeface="Calibri" panose="020F0502020204030204" pitchFamily="34" charset="0"/>
              </a:rPr>
              <a:t>support</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dirty="0" err="1">
                <a:solidFill>
                  <a:schemeClr val="tx1"/>
                </a:solidFill>
                <a:latin typeface="Calibri" panose="020F0502020204030204" pitchFamily="34" charset="0"/>
                <a:cs typeface="Calibri" panose="020F0502020204030204" pitchFamily="34" charset="0"/>
              </a:rPr>
              <a:t>to</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b="1" dirty="0">
                <a:solidFill>
                  <a:schemeClr val="tx1"/>
                </a:solidFill>
                <a:latin typeface="Calibri" panose="020F0502020204030204" pitchFamily="34" charset="0"/>
                <a:cs typeface="Calibri" panose="020F0502020204030204" pitchFamily="34" charset="0"/>
              </a:rPr>
              <a:t>NDC, LTS, </a:t>
            </a:r>
            <a:r>
              <a:rPr lang="tr-TR" altLang="tr-TR" sz="1600" b="1" dirty="0" err="1">
                <a:solidFill>
                  <a:schemeClr val="tx1"/>
                </a:solidFill>
                <a:latin typeface="Calibri" panose="020F0502020204030204" pitchFamily="34" charset="0"/>
                <a:cs typeface="Calibri" panose="020F0502020204030204" pitchFamily="34" charset="0"/>
              </a:rPr>
              <a:t>implementation</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tools</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smtClean="0">
                <a:solidFill>
                  <a:schemeClr val="tx1"/>
                </a:solidFill>
                <a:latin typeface="Calibri" panose="020F0502020204030204" pitchFamily="34" charset="0"/>
                <a:cs typeface="Calibri" panose="020F0502020204030204" pitchFamily="34" charset="0"/>
              </a:rPr>
              <a:t>ETF </a:t>
            </a:r>
            <a:r>
              <a:rPr lang="tr-TR" altLang="tr-TR" sz="1600" b="1" dirty="0" err="1">
                <a:solidFill>
                  <a:schemeClr val="tx1"/>
                </a:solidFill>
                <a:latin typeface="Calibri" panose="020F0502020204030204" pitchFamily="34" charset="0"/>
                <a:cs typeface="Calibri" panose="020F0502020204030204" pitchFamily="34" charset="0"/>
              </a:rPr>
              <a:t>processes</a:t>
            </a:r>
            <a:endParaRPr lang="tr-TR" altLang="tr-TR" sz="1600" dirty="0">
              <a:solidFill>
                <a:schemeClr val="tx1"/>
              </a:solidFill>
              <a:latin typeface="Calibri" panose="020F0502020204030204" pitchFamily="34" charset="0"/>
              <a:cs typeface="Calibri" panose="020F0502020204030204" pitchFamily="34" charset="0"/>
            </a:endParaRPr>
          </a:p>
          <a:p>
            <a:pPr marL="285750" lvl="0" indent="-285750" eaLnBrk="0" fontAlgn="base" hangingPunct="0">
              <a:spcBef>
                <a:spcPct val="0"/>
              </a:spcBef>
              <a:spcAft>
                <a:spcPct val="0"/>
              </a:spcAft>
              <a:buFont typeface="Wingdings" panose="05000000000000000000" pitchFamily="2" charset="2"/>
              <a:buChar char="§"/>
            </a:pPr>
            <a:r>
              <a:rPr lang="tr-TR" altLang="tr-TR" sz="1600" dirty="0">
                <a:solidFill>
                  <a:schemeClr val="tx1"/>
                </a:solidFill>
                <a:latin typeface="Calibri" panose="020F0502020204030204" pitchFamily="34" charset="0"/>
                <a:cs typeface="Calibri" panose="020F0502020204030204" pitchFamily="34" charset="0"/>
              </a:rPr>
              <a:t>Beyond </a:t>
            </a:r>
            <a:r>
              <a:rPr lang="tr-TR" altLang="tr-TR" sz="1600" dirty="0" err="1">
                <a:solidFill>
                  <a:schemeClr val="tx1"/>
                </a:solidFill>
                <a:latin typeface="Calibri" panose="020F0502020204030204" pitchFamily="34" charset="0"/>
                <a:cs typeface="Calibri" panose="020F0502020204030204" pitchFamily="34" charset="0"/>
              </a:rPr>
              <a:t>mitigation</a:t>
            </a:r>
            <a:r>
              <a:rPr lang="tr-TR" altLang="tr-TR" sz="1600"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adaptation</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ecosystem</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protection</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sustainable</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land</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use</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policy</a:t>
            </a:r>
            <a:r>
              <a:rPr lang="tr-TR" altLang="tr-TR" sz="1600" b="1" dirty="0">
                <a:solidFill>
                  <a:schemeClr val="tx1"/>
                </a:solidFill>
                <a:latin typeface="Calibri" panose="020F0502020204030204" pitchFamily="34" charset="0"/>
                <a:cs typeface="Calibri" panose="020F0502020204030204" pitchFamily="34" charset="0"/>
              </a:rPr>
              <a:t> </a:t>
            </a:r>
            <a:r>
              <a:rPr lang="tr-TR" altLang="tr-TR" sz="1600" b="1" dirty="0" err="1">
                <a:solidFill>
                  <a:schemeClr val="tx1"/>
                </a:solidFill>
                <a:latin typeface="Calibri" panose="020F0502020204030204" pitchFamily="34" charset="0"/>
                <a:cs typeface="Calibri" panose="020F0502020204030204" pitchFamily="34" charset="0"/>
              </a:rPr>
              <a:t>coherence</a:t>
            </a:r>
            <a:endParaRPr lang="tr-TR" altLang="tr-TR" sz="1600" dirty="0">
              <a:solidFill>
                <a:schemeClr val="tx1"/>
              </a:solidFill>
              <a:latin typeface="Calibri" panose="020F0502020204030204" pitchFamily="34" charset="0"/>
              <a:cs typeface="Calibri" panose="020F0502020204030204" pitchFamily="34" charset="0"/>
            </a:endParaRPr>
          </a:p>
          <a:p>
            <a:pPr lvl="0">
              <a:buFont typeface="Trebuchet MS" panose="020B0603020202020204" pitchFamily="34" charset="0"/>
              <a:buChar cha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D0B502D8-51CB-4A93-957E-5316BB3085A3}"/>
              </a:ext>
            </a:extLst>
          </p:cNvPr>
          <p:cNvSpPr/>
          <p:nvPr/>
        </p:nvSpPr>
        <p:spPr>
          <a:xfrm>
            <a:off x="8325492" y="6298999"/>
            <a:ext cx="3378827" cy="738664"/>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kumimoji="0" lang="en-US" sz="1200" b="1" i="0" u="none" strike="noStrike" kern="1200" cap="none" spc="0" normalizeH="0" baseline="0" noProof="0" dirty="0">
                <a:ln>
                  <a:noFill/>
                </a:ln>
                <a:solidFill>
                  <a:srgbClr val="30C1D7"/>
                </a:solidFill>
                <a:effectLst/>
                <a:uLnTx/>
                <a:uFillTx/>
                <a:latin typeface="Calibri" panose="020F0502020204030204" pitchFamily="34" charset="0"/>
                <a:cs typeface="Calibri" panose="020F0502020204030204" pitchFamily="34" charset="0"/>
              </a:rPr>
              <a:t>Investment </a:t>
            </a:r>
            <a:r>
              <a:rPr lang="en-US" sz="1200" b="1" dirty="0" smtClean="0">
                <a:solidFill>
                  <a:srgbClr val="30C1D7"/>
                </a:solidFill>
                <a:latin typeface="Calibri" panose="020F0502020204030204" pitchFamily="34" charset="0"/>
                <a:cs typeface="Calibri" panose="020F0502020204030204" pitchFamily="34" charset="0"/>
              </a:rPr>
              <a:t>secured</a:t>
            </a:r>
            <a:r>
              <a:rPr kumimoji="0" lang="en-US" sz="1200" b="1" i="0" u="none" strike="noStrike" kern="1200" cap="none" spc="0" normalizeH="0" baseline="0" noProof="0" dirty="0" smtClean="0">
                <a:ln>
                  <a:noFill/>
                </a:ln>
                <a:solidFill>
                  <a:srgbClr val="30C1D7"/>
                </a:solidFill>
                <a:effectLst/>
                <a:uLnTx/>
                <a:uFillTx/>
                <a:latin typeface="Calibri" panose="020F0502020204030204" pitchFamily="34" charset="0"/>
                <a:cs typeface="Calibri" panose="020F0502020204030204" pitchFamily="34" charset="0"/>
              </a:rPr>
              <a:t>:</a:t>
            </a:r>
            <a:r>
              <a:rPr kumimoji="0" lang="tr-TR" sz="1200" b="1" i="0" u="none" strike="noStrike" kern="1200" cap="none" spc="0" normalizeH="0" noProof="0" dirty="0" smtClean="0">
                <a:ln>
                  <a:noFill/>
                </a:ln>
                <a:solidFill>
                  <a:srgbClr val="30C1D7"/>
                </a:solidFill>
                <a:effectLst/>
                <a:uLnTx/>
                <a:uFillTx/>
                <a:latin typeface="Calibri" panose="020F0502020204030204" pitchFamily="34" charset="0"/>
                <a:cs typeface="Calibri" panose="020F0502020204030204" pitchFamily="34" charset="0"/>
              </a:rPr>
              <a:t> </a:t>
            </a:r>
            <a:r>
              <a:rPr lang="en-US" sz="1400" dirty="0" smtClean="0">
                <a:solidFill>
                  <a:srgbClr val="575757"/>
                </a:solidFill>
                <a:latin typeface="Calibri" panose="020F0502020204030204" pitchFamily="34" charset="0"/>
                <a:cs typeface="Calibri" panose="020F0502020204030204" pitchFamily="34" charset="0"/>
              </a:rPr>
              <a:t>0 </a:t>
            </a:r>
            <a:r>
              <a:rPr lang="en-US" sz="1400" dirty="0">
                <a:solidFill>
                  <a:srgbClr val="575757"/>
                </a:solidFill>
                <a:latin typeface="Calibri" panose="020F0502020204030204" pitchFamily="34" charset="0"/>
                <a:cs typeface="Calibri" panose="020F0502020204030204" pitchFamily="34" charset="0"/>
              </a:rPr>
              <a:t>(no co-financing to date)</a:t>
            </a:r>
          </a:p>
          <a:p>
            <a:pPr>
              <a:defRPr/>
            </a:pPr>
            <a:endParaRPr lang="en-US" sz="1200" dirty="0">
              <a:solidFill>
                <a:srgbClr val="575757"/>
              </a:solidFill>
              <a:latin typeface="Calibri" panose="020F0502020204030204" pitchFamily="34" charset="0"/>
              <a:cs typeface="Calibri" panose="020F0502020204030204" pitchFamily="34" charset="0"/>
            </a:endParaRPr>
          </a:p>
          <a:p>
            <a:pPr lvl="0">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2881073F-FD45-4DEF-B346-F1AFE7B36FA2}"/>
              </a:ext>
            </a:extLst>
          </p:cNvPr>
          <p:cNvSpPr/>
          <p:nvPr/>
        </p:nvSpPr>
        <p:spPr>
          <a:xfrm>
            <a:off x="661658" y="4638650"/>
            <a:ext cx="6766012" cy="1651701"/>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94C5E4F9-6B0F-47E3-A38C-F09AF43E06B6}"/>
              </a:ext>
            </a:extLst>
          </p:cNvPr>
          <p:cNvSpPr/>
          <p:nvPr/>
        </p:nvSpPr>
        <p:spPr>
          <a:xfrm>
            <a:off x="2968745" y="4590959"/>
            <a:ext cx="4348958" cy="1477328"/>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just">
              <a:defRPr/>
            </a:pPr>
            <a:endParaRPr lang="en-US" sz="1200" dirty="0">
              <a:solidFill>
                <a:srgbClr val="575757"/>
              </a:solidFill>
              <a:latin typeface="Calibri" panose="020F0502020204030204" pitchFamily="34" charset="0"/>
              <a:cs typeface="Calibri" panose="020F0502020204030204" pitchFamily="34" charset="0"/>
            </a:endParaRPr>
          </a:p>
          <a:p>
            <a:pPr lvl="0" algn="just">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18E374AB-F55F-4FAB-94D8-D3D4CFAD3D78}"/>
              </a:ext>
            </a:extLst>
          </p:cNvPr>
          <p:cNvSpPr txBox="1"/>
          <p:nvPr/>
        </p:nvSpPr>
        <p:spPr>
          <a:xfrm>
            <a:off x="628651" y="1421999"/>
            <a:ext cx="1376516"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hlinkClick r:id="rId7" action="ppaction://hlinksldjump"/>
              </a:rPr>
              <a:t>Project overview</a:t>
            </a:r>
            <a:endPar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06B43EF0-CD6E-41E1-BEE5-C537F0EEE17A}"/>
              </a:ext>
            </a:extLst>
          </p:cNvPr>
          <p:cNvSpPr/>
          <p:nvPr/>
        </p:nvSpPr>
        <p:spPr>
          <a:xfrm>
            <a:off x="628651" y="3367386"/>
            <a:ext cx="5622358" cy="1064991"/>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7FEC81C0-5EE6-4B93-AAE4-D0B157EB65F7}"/>
              </a:ext>
            </a:extLst>
          </p:cNvPr>
          <p:cNvSpPr txBox="1"/>
          <p:nvPr/>
        </p:nvSpPr>
        <p:spPr>
          <a:xfrm>
            <a:off x="3266791" y="3250755"/>
            <a:ext cx="777006"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hlinkClick r:id="rId8" action="ppaction://hlinksldjump"/>
              </a:rPr>
              <a:t>Key info</a:t>
            </a:r>
            <a:endPar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515B8835-0C1C-4A3D-99F1-4D8B2E10B3A4}"/>
              </a:ext>
            </a:extLst>
          </p:cNvPr>
          <p:cNvSpPr txBox="1"/>
          <p:nvPr/>
        </p:nvSpPr>
        <p:spPr>
          <a:xfrm>
            <a:off x="2466689" y="4530701"/>
            <a:ext cx="1251378"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hlinkClick r:id="rId9" action="ppaction://hlinksldjump"/>
              </a:rPr>
              <a:t>Climate impact</a:t>
            </a:r>
            <a:endPar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38D45408-E3DC-45A4-BE8A-A006947DF262}"/>
              </a:ext>
            </a:extLst>
          </p:cNvPr>
          <p:cNvSpPr/>
          <p:nvPr/>
        </p:nvSpPr>
        <p:spPr>
          <a:xfrm>
            <a:off x="7524437" y="4635149"/>
            <a:ext cx="4038914" cy="1649210"/>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01" name="Rectangle 100">
            <a:extLst>
              <a:ext uri="{FF2B5EF4-FFF2-40B4-BE49-F238E27FC236}">
                <a16:creationId xmlns:a16="http://schemas.microsoft.com/office/drawing/2014/main" id="{93A7E114-DE3F-4AD7-BC5B-57493305814D}"/>
              </a:ext>
            </a:extLst>
          </p:cNvPr>
          <p:cNvSpPr/>
          <p:nvPr/>
        </p:nvSpPr>
        <p:spPr>
          <a:xfrm>
            <a:off x="8250348" y="1505711"/>
            <a:ext cx="3285880" cy="1240318"/>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12" name="NavigationTriangle">
            <a:extLst>
              <a:ext uri="{FF2B5EF4-FFF2-40B4-BE49-F238E27FC236}">
                <a16:creationId xmlns:a16="http://schemas.microsoft.com/office/drawing/2014/main" id="{1752C441-1174-4BEC-BFE9-251C9E9FE4E6}"/>
              </a:ext>
            </a:extLst>
          </p:cNvPr>
          <p:cNvSpPr>
            <a:spLocks noChangeAspect="1"/>
          </p:cNvSpPr>
          <p:nvPr/>
        </p:nvSpPr>
        <p:spPr>
          <a:xfrm rot="16200000">
            <a:off x="11175326" y="-13783"/>
            <a:ext cx="1017006" cy="101633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137" name="Oval 136">
            <a:extLst>
              <a:ext uri="{FF2B5EF4-FFF2-40B4-BE49-F238E27FC236}">
                <a16:creationId xmlns:a16="http://schemas.microsoft.com/office/drawing/2014/main" id="{CD7E5B91-F579-4613-AAE5-CBC474BA4456}"/>
              </a:ext>
            </a:extLst>
          </p:cNvPr>
          <p:cNvSpPr/>
          <p:nvPr/>
        </p:nvSpPr>
        <p:spPr>
          <a:xfrm>
            <a:off x="9437929" y="4702483"/>
            <a:ext cx="964608" cy="964608"/>
          </a:xfrm>
          <a:prstGeom prst="ellipse">
            <a:avLst/>
          </a:prstGeom>
          <a:grpFill/>
          <a:ln w="28575">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defRPr/>
            </a:pPr>
            <a:r>
              <a:rPr lang="en-US" sz="1600" kern="0" dirty="0">
                <a:solidFill>
                  <a:srgbClr val="30C1D7"/>
                </a:solidFill>
                <a:latin typeface="Calibri" panose="020F0502020204030204" pitchFamily="34" charset="0"/>
                <a:cs typeface="Calibri" panose="020F0502020204030204" pitchFamily="34" charset="0"/>
              </a:rPr>
              <a:t>$ </a:t>
            </a:r>
            <a:r>
              <a:rPr lang="tr-TR" sz="1600" kern="0" dirty="0" smtClean="0">
                <a:solidFill>
                  <a:srgbClr val="30C1D7"/>
                </a:solidFill>
                <a:latin typeface="Calibri" panose="020F0502020204030204" pitchFamily="34" charset="0"/>
                <a:cs typeface="Calibri" panose="020F0502020204030204" pitchFamily="34" charset="0"/>
              </a:rPr>
              <a:t>2</a:t>
            </a:r>
            <a:endParaRPr lang="en-US" sz="1600" kern="0" dirty="0">
              <a:solidFill>
                <a:srgbClr val="30C1D7"/>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95000"/>
              </a:lnSpc>
              <a:spcBef>
                <a:spcPts val="0"/>
              </a:spcBef>
              <a:spcAft>
                <a:spcPts val="0"/>
              </a:spcAft>
              <a:buClrTx/>
              <a:buSzTx/>
              <a:buFontTx/>
              <a:buNone/>
              <a:tabLst/>
              <a:defRPr/>
            </a:pPr>
            <a:r>
              <a:rPr lang="en-US" sz="1600" kern="0" dirty="0">
                <a:solidFill>
                  <a:srgbClr val="30C1D7"/>
                </a:solidFill>
                <a:latin typeface="Calibri" panose="020F0502020204030204" pitchFamily="34" charset="0"/>
                <a:cs typeface="Calibri" panose="020F0502020204030204" pitchFamily="34" charset="0"/>
              </a:rPr>
              <a:t>million</a:t>
            </a:r>
            <a:endParaRPr kumimoji="0" lang="en-US" sz="1600" b="0" i="0" u="none" strike="noStrike" kern="0" cap="none" spc="0" normalizeH="0" baseline="0" noProof="0" dirty="0">
              <a:ln>
                <a:noFill/>
              </a:ln>
              <a:solidFill>
                <a:srgbClr val="30C1D7"/>
              </a:solidFill>
              <a:effectLst/>
              <a:uLnTx/>
              <a:uFillTx/>
              <a:latin typeface="Calibri" panose="020F0502020204030204" pitchFamily="34" charset="0"/>
              <a:cs typeface="Calibri" panose="020F0502020204030204" pitchFamily="34" charset="0"/>
            </a:endParaRPr>
          </a:p>
        </p:txBody>
      </p:sp>
      <p:sp>
        <p:nvSpPr>
          <p:cNvPr id="138" name="Rectangle 137">
            <a:extLst>
              <a:ext uri="{FF2B5EF4-FFF2-40B4-BE49-F238E27FC236}">
                <a16:creationId xmlns:a16="http://schemas.microsoft.com/office/drawing/2014/main" id="{9CD98ED8-F000-41A2-A09E-C9B15275DA4A}"/>
              </a:ext>
            </a:extLst>
          </p:cNvPr>
          <p:cNvSpPr/>
          <p:nvPr/>
        </p:nvSpPr>
        <p:spPr>
          <a:xfrm>
            <a:off x="7485112" y="5582005"/>
            <a:ext cx="3043812" cy="1086326"/>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eaLnBrk="0" fontAlgn="base" hangingPunct="0">
              <a:spcBef>
                <a:spcPct val="0"/>
              </a:spcBef>
              <a:spcAft>
                <a:spcPct val="0"/>
              </a:spcAft>
            </a:pPr>
            <a:r>
              <a:rPr lang="tr-TR" altLang="tr-TR" sz="1400" b="1" dirty="0">
                <a:solidFill>
                  <a:srgbClr val="575757"/>
                </a:solidFill>
                <a:latin typeface="Calibri" panose="020F0502020204030204" pitchFamily="34" charset="0"/>
                <a:cs typeface="Calibri" panose="020F0502020204030204" pitchFamily="34" charset="0"/>
              </a:rPr>
              <a:t>Total </a:t>
            </a:r>
            <a:r>
              <a:rPr lang="tr-TR" altLang="tr-TR" sz="1400" b="1" dirty="0" err="1">
                <a:solidFill>
                  <a:srgbClr val="575757"/>
                </a:solidFill>
                <a:latin typeface="Calibri" panose="020F0502020204030204" pitchFamily="34" charset="0"/>
                <a:cs typeface="Calibri" panose="020F0502020204030204" pitchFamily="34" charset="0"/>
              </a:rPr>
              <a:t>fund</a:t>
            </a:r>
            <a:r>
              <a:rPr lang="tr-TR" altLang="tr-TR" sz="1400" b="1" dirty="0">
                <a:solidFill>
                  <a:srgbClr val="575757"/>
                </a:solidFill>
                <a:latin typeface="Calibri" panose="020F0502020204030204" pitchFamily="34" charset="0"/>
                <a:cs typeface="Calibri" panose="020F0502020204030204" pitchFamily="34" charset="0"/>
              </a:rPr>
              <a:t> </a:t>
            </a:r>
            <a:r>
              <a:rPr lang="tr-TR" altLang="tr-TR" sz="1400" b="1" dirty="0" err="1">
                <a:solidFill>
                  <a:srgbClr val="575757"/>
                </a:solidFill>
                <a:latin typeface="Calibri" panose="020F0502020204030204" pitchFamily="34" charset="0"/>
                <a:cs typeface="Calibri" panose="020F0502020204030204" pitchFamily="34" charset="0"/>
              </a:rPr>
              <a:t>required</a:t>
            </a:r>
            <a:r>
              <a:rPr lang="tr-TR" altLang="tr-TR" sz="1400" b="1" dirty="0">
                <a:solidFill>
                  <a:srgbClr val="575757"/>
                </a:solidFill>
                <a:latin typeface="Calibri" panose="020F0502020204030204" pitchFamily="34" charset="0"/>
                <a:cs typeface="Calibri" panose="020F0502020204030204" pitchFamily="34" charset="0"/>
              </a:rPr>
              <a:t>:</a:t>
            </a:r>
            <a:r>
              <a:rPr lang="tr-TR" altLang="tr-TR" sz="1400" dirty="0">
                <a:solidFill>
                  <a:srgbClr val="575757"/>
                </a:solidFill>
                <a:latin typeface="Calibri" panose="020F0502020204030204" pitchFamily="34" charset="0"/>
                <a:cs typeface="Calibri" panose="020F0502020204030204" pitchFamily="34" charset="0"/>
              </a:rPr>
              <a:t> </a:t>
            </a:r>
            <a:r>
              <a:rPr lang="en-US" sz="1400" dirty="0">
                <a:solidFill>
                  <a:srgbClr val="575757"/>
                </a:solidFill>
                <a:latin typeface="Calibri" panose="020F0502020204030204" pitchFamily="34" charset="0"/>
                <a:cs typeface="Calibri" panose="020F0502020204030204" pitchFamily="34" charset="0"/>
              </a:rPr>
              <a:t>$</a:t>
            </a:r>
            <a:r>
              <a:rPr lang="tr-TR" altLang="tr-TR" sz="1400" dirty="0">
                <a:solidFill>
                  <a:srgbClr val="575757"/>
                </a:solidFill>
                <a:latin typeface="Calibri" panose="020F0502020204030204" pitchFamily="34" charset="0"/>
                <a:cs typeface="Calibri" panose="020F0502020204030204" pitchFamily="34" charset="0"/>
              </a:rPr>
              <a:t> 2 </a:t>
            </a:r>
            <a:r>
              <a:rPr lang="tr-TR" altLang="tr-TR" sz="1400" dirty="0" err="1" smtClean="0">
                <a:solidFill>
                  <a:srgbClr val="575757"/>
                </a:solidFill>
                <a:latin typeface="Calibri" panose="020F0502020204030204" pitchFamily="34" charset="0"/>
                <a:cs typeface="Calibri" panose="020F0502020204030204" pitchFamily="34" charset="0"/>
              </a:rPr>
              <a:t>million</a:t>
            </a:r>
            <a:endParaRPr lang="tr-TR" altLang="tr-TR" sz="1400" dirty="0" smtClean="0">
              <a:solidFill>
                <a:srgbClr val="575757"/>
              </a:solidFill>
              <a:latin typeface="Calibri" panose="020F0502020204030204" pitchFamily="34" charset="0"/>
              <a:cs typeface="Calibri" panose="020F0502020204030204" pitchFamily="34" charset="0"/>
            </a:endParaRPr>
          </a:p>
          <a:p>
            <a:pPr lvl="0" eaLnBrk="0" fontAlgn="base" hangingPunct="0">
              <a:spcBef>
                <a:spcPct val="0"/>
              </a:spcBef>
              <a:spcAft>
                <a:spcPct val="0"/>
              </a:spcAft>
            </a:pPr>
            <a:r>
              <a:rPr lang="tr-TR" altLang="tr-TR" sz="1400" b="1" dirty="0" err="1" smtClean="0">
                <a:solidFill>
                  <a:srgbClr val="575757"/>
                </a:solidFill>
                <a:latin typeface="Calibri" panose="020F0502020204030204" pitchFamily="34" charset="0"/>
                <a:cs typeface="Calibri" panose="020F0502020204030204" pitchFamily="34" charset="0"/>
              </a:rPr>
              <a:t>Funding</a:t>
            </a:r>
            <a:r>
              <a:rPr lang="tr-TR" altLang="tr-TR" sz="1400" b="1" dirty="0" smtClean="0">
                <a:solidFill>
                  <a:srgbClr val="575757"/>
                </a:solidFill>
                <a:latin typeface="Calibri" panose="020F0502020204030204" pitchFamily="34" charset="0"/>
                <a:cs typeface="Calibri" panose="020F0502020204030204" pitchFamily="34" charset="0"/>
              </a:rPr>
              <a:t> </a:t>
            </a:r>
            <a:r>
              <a:rPr lang="tr-TR" altLang="tr-TR" sz="1400" b="1" dirty="0" err="1" smtClean="0">
                <a:solidFill>
                  <a:srgbClr val="575757"/>
                </a:solidFill>
                <a:latin typeface="Calibri" panose="020F0502020204030204" pitchFamily="34" charset="0"/>
                <a:cs typeface="Calibri" panose="020F0502020204030204" pitchFamily="34" charset="0"/>
              </a:rPr>
              <a:t>requested</a:t>
            </a:r>
            <a:r>
              <a:rPr lang="tr-TR" altLang="tr-TR" sz="1400" b="1" dirty="0">
                <a:solidFill>
                  <a:srgbClr val="575757"/>
                </a:solidFill>
                <a:latin typeface="Calibri" panose="020F0502020204030204" pitchFamily="34" charset="0"/>
                <a:cs typeface="Calibri" panose="020F0502020204030204" pitchFamily="34" charset="0"/>
              </a:rPr>
              <a:t>: </a:t>
            </a:r>
            <a:r>
              <a:rPr lang="en-US" sz="1400" dirty="0">
                <a:solidFill>
                  <a:srgbClr val="575757"/>
                </a:solidFill>
                <a:latin typeface="Calibri" panose="020F0502020204030204" pitchFamily="34" charset="0"/>
                <a:cs typeface="Calibri" panose="020F0502020204030204" pitchFamily="34" charset="0"/>
              </a:rPr>
              <a:t>$</a:t>
            </a:r>
            <a:r>
              <a:rPr lang="tr-TR" altLang="tr-TR" sz="1400" dirty="0">
                <a:solidFill>
                  <a:srgbClr val="575757"/>
                </a:solidFill>
                <a:latin typeface="Calibri" panose="020F0502020204030204" pitchFamily="34" charset="0"/>
                <a:cs typeface="Calibri" panose="020F0502020204030204" pitchFamily="34" charset="0"/>
              </a:rPr>
              <a:t> 2 </a:t>
            </a:r>
            <a:r>
              <a:rPr lang="tr-TR" altLang="tr-TR" sz="1400" dirty="0" err="1" smtClean="0">
                <a:solidFill>
                  <a:srgbClr val="575757"/>
                </a:solidFill>
                <a:latin typeface="Calibri" panose="020F0502020204030204" pitchFamily="34" charset="0"/>
                <a:cs typeface="Calibri" panose="020F0502020204030204" pitchFamily="34" charset="0"/>
              </a:rPr>
              <a:t>million</a:t>
            </a:r>
            <a:r>
              <a:rPr lang="tr-TR" altLang="tr-TR" sz="1400" dirty="0" smtClean="0">
                <a:solidFill>
                  <a:srgbClr val="575757"/>
                </a:solidFill>
                <a:latin typeface="Calibri" panose="020F0502020204030204" pitchFamily="34" charset="0"/>
                <a:cs typeface="Calibri" panose="020F0502020204030204" pitchFamily="34" charset="0"/>
              </a:rPr>
              <a:t> (</a:t>
            </a:r>
            <a:r>
              <a:rPr lang="tr-TR" altLang="tr-TR" sz="1400" dirty="0" err="1" smtClean="0">
                <a:solidFill>
                  <a:srgbClr val="575757"/>
                </a:solidFill>
                <a:latin typeface="Calibri" panose="020F0502020204030204" pitchFamily="34" charset="0"/>
                <a:cs typeface="Calibri" panose="020F0502020204030204" pitchFamily="34" charset="0"/>
              </a:rPr>
              <a:t>grant</a:t>
            </a:r>
            <a:r>
              <a:rPr lang="tr-TR" altLang="tr-TR" sz="1400" dirty="0" smtClean="0">
                <a:solidFill>
                  <a:srgbClr val="575757"/>
                </a:solidFill>
                <a:latin typeface="Calibri" panose="020F0502020204030204" pitchFamily="34" charset="0"/>
                <a:cs typeface="Calibri" panose="020F0502020204030204" pitchFamily="34" charset="0"/>
              </a:rPr>
              <a:t>)</a:t>
            </a:r>
          </a:p>
          <a:p>
            <a:pPr lvl="0" eaLnBrk="0" fontAlgn="base" hangingPunct="0">
              <a:spcBef>
                <a:spcPct val="0"/>
              </a:spcBef>
              <a:spcAft>
                <a:spcPct val="0"/>
              </a:spcAft>
            </a:pPr>
            <a:r>
              <a:rPr lang="tr-TR" altLang="tr-TR" sz="1400" b="1" dirty="0" err="1" smtClean="0">
                <a:solidFill>
                  <a:srgbClr val="575757"/>
                </a:solidFill>
                <a:latin typeface="Calibri" panose="020F0502020204030204" pitchFamily="34" charset="0"/>
                <a:cs typeface="Calibri" panose="020F0502020204030204" pitchFamily="34" charset="0"/>
              </a:rPr>
              <a:t>Co-financing</a:t>
            </a:r>
            <a:r>
              <a:rPr lang="tr-TR" altLang="tr-TR" sz="1400" b="1" dirty="0">
                <a:solidFill>
                  <a:srgbClr val="575757"/>
                </a:solidFill>
                <a:latin typeface="Calibri" panose="020F0502020204030204" pitchFamily="34" charset="0"/>
                <a:cs typeface="Calibri" panose="020F0502020204030204" pitchFamily="34" charset="0"/>
              </a:rPr>
              <a:t>: </a:t>
            </a:r>
            <a:r>
              <a:rPr lang="tr-TR" altLang="tr-TR" sz="1400" dirty="0" err="1">
                <a:solidFill>
                  <a:srgbClr val="575757"/>
                </a:solidFill>
                <a:latin typeface="Calibri" panose="020F0502020204030204" pitchFamily="34" charset="0"/>
                <a:cs typeface="Calibri" panose="020F0502020204030204" pitchFamily="34" charset="0"/>
              </a:rPr>
              <a:t>None</a:t>
            </a:r>
            <a:endParaRPr lang="tr-TR" altLang="tr-TR" sz="1400" dirty="0">
              <a:solidFill>
                <a:srgbClr val="575757"/>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39277E75-C420-4760-8EBB-D73A866E4652}"/>
              </a:ext>
            </a:extLst>
          </p:cNvPr>
          <p:cNvSpPr txBox="1"/>
          <p:nvPr/>
        </p:nvSpPr>
        <p:spPr>
          <a:xfrm>
            <a:off x="8376488" y="4541583"/>
            <a:ext cx="854707"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Financing</a:t>
            </a:r>
          </a:p>
        </p:txBody>
      </p:sp>
      <p:sp>
        <p:nvSpPr>
          <p:cNvPr id="104" name="TextBox 103">
            <a:extLst>
              <a:ext uri="{FF2B5EF4-FFF2-40B4-BE49-F238E27FC236}">
                <a16:creationId xmlns:a16="http://schemas.microsoft.com/office/drawing/2014/main" id="{D5358A58-F79E-40FA-A433-18AB5D18B3EB}"/>
              </a:ext>
            </a:extLst>
          </p:cNvPr>
          <p:cNvSpPr txBox="1"/>
          <p:nvPr/>
        </p:nvSpPr>
        <p:spPr>
          <a:xfrm>
            <a:off x="8296307" y="1609923"/>
            <a:ext cx="854707" cy="17213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hlinkClick r:id="rId10" action="ppaction://hlinksldjump"/>
              </a:rPr>
              <a:t>Timelines</a:t>
            </a:r>
            <a:endPar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endParaRPr>
          </a:p>
        </p:txBody>
      </p:sp>
      <p:sp>
        <p:nvSpPr>
          <p:cNvPr id="308" name="Rectangle 307">
            <a:extLst>
              <a:ext uri="{FF2B5EF4-FFF2-40B4-BE49-F238E27FC236}">
                <a16:creationId xmlns:a16="http://schemas.microsoft.com/office/drawing/2014/main" id="{B4B8452D-EB0D-4AB6-A91C-22F9E76B07D7}"/>
              </a:ext>
            </a:extLst>
          </p:cNvPr>
          <p:cNvSpPr/>
          <p:nvPr/>
        </p:nvSpPr>
        <p:spPr>
          <a:xfrm>
            <a:off x="6466451" y="3464490"/>
            <a:ext cx="1409373"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defRPr/>
            </a:pPr>
            <a:r>
              <a:rPr lang="en-US" sz="1200" b="1" dirty="0">
                <a:solidFill>
                  <a:srgbClr val="30C1D7"/>
                </a:solidFill>
                <a:latin typeface="Calibri" panose="020F0502020204030204" pitchFamily="34" charset="0"/>
                <a:cs typeface="Calibri" panose="020F0502020204030204" pitchFamily="34" charset="0"/>
              </a:rPr>
              <a:t>Owner</a:t>
            </a:r>
          </a:p>
          <a:p>
            <a:pPr lvl="0" algn="ctr">
              <a:defRPr/>
            </a:pPr>
            <a:r>
              <a:rPr lang="tr-TR" sz="1400" dirty="0" err="1" smtClean="0">
                <a:solidFill>
                  <a:srgbClr val="575757"/>
                </a:solidFill>
                <a:latin typeface="Calibri" panose="020F0502020204030204" pitchFamily="34" charset="0"/>
                <a:cs typeface="Calibri" panose="020F0502020204030204" pitchFamily="34" charset="0"/>
              </a:rPr>
              <a:t>Directorate</a:t>
            </a:r>
            <a:r>
              <a:rPr lang="tr-TR" sz="1400" dirty="0" smtClean="0">
                <a:solidFill>
                  <a:srgbClr val="575757"/>
                </a:solidFill>
                <a:latin typeface="Calibri" panose="020F0502020204030204" pitchFamily="34" charset="0"/>
                <a:cs typeface="Calibri" panose="020F0502020204030204" pitchFamily="34" charset="0"/>
              </a:rPr>
              <a:t> of </a:t>
            </a:r>
            <a:r>
              <a:rPr lang="en-US" sz="1400" dirty="0" smtClean="0">
                <a:solidFill>
                  <a:srgbClr val="575757"/>
                </a:solidFill>
                <a:latin typeface="Calibri" panose="020F0502020204030204" pitchFamily="34" charset="0"/>
                <a:cs typeface="Calibri" panose="020F0502020204030204" pitchFamily="34" charset="0"/>
              </a:rPr>
              <a:t>Climate Change</a:t>
            </a:r>
            <a:r>
              <a:rPr lang="tr-TR" sz="1400" dirty="0" smtClean="0">
                <a:solidFill>
                  <a:srgbClr val="575757"/>
                </a:solidFill>
                <a:latin typeface="Calibri" panose="020F0502020204030204" pitchFamily="34" charset="0"/>
                <a:cs typeface="Calibri" panose="020F0502020204030204" pitchFamily="34" charset="0"/>
              </a:rPr>
              <a:t> </a:t>
            </a:r>
            <a:r>
              <a:rPr lang="en-US" sz="1400" dirty="0" smtClean="0">
                <a:solidFill>
                  <a:srgbClr val="575757"/>
                </a:solidFill>
                <a:latin typeface="Calibri" panose="020F0502020204030204" pitchFamily="34" charset="0"/>
                <a:cs typeface="Calibri" panose="020F0502020204030204" pitchFamily="34" charset="0"/>
              </a:rPr>
              <a:t>(</a:t>
            </a:r>
            <a:r>
              <a:rPr lang="en-US" sz="1400" dirty="0" err="1" smtClean="0">
                <a:solidFill>
                  <a:srgbClr val="575757"/>
                </a:solidFill>
                <a:latin typeface="Calibri" panose="020F0502020204030204" pitchFamily="34" charset="0"/>
                <a:cs typeface="Calibri" panose="020F0502020204030204" pitchFamily="34" charset="0"/>
              </a:rPr>
              <a:t>MoEUCC</a:t>
            </a:r>
            <a:r>
              <a:rPr lang="en-US" sz="1400" dirty="0" smtClean="0">
                <a:solidFill>
                  <a:srgbClr val="575757"/>
                </a:solidFill>
                <a:latin typeface="Calibri" panose="020F0502020204030204" pitchFamily="34" charset="0"/>
                <a:cs typeface="Calibri" panose="020F0502020204030204" pitchFamily="34" charset="0"/>
              </a:rPr>
              <a:t>) </a:t>
            </a:r>
            <a:endParaRPr lang="en-US" sz="1400" dirty="0">
              <a:solidFill>
                <a:srgbClr val="575757"/>
              </a:solidFill>
              <a:latin typeface="Calibri" panose="020F0502020204030204" pitchFamily="34" charset="0"/>
              <a:cs typeface="Calibri" panose="020F0502020204030204" pitchFamily="34" charset="0"/>
            </a:endParaRPr>
          </a:p>
        </p:txBody>
      </p:sp>
      <p:sp>
        <p:nvSpPr>
          <p:cNvPr id="319" name="Rectangle: Rounded Corners 127">
            <a:extLst>
              <a:ext uri="{FF2B5EF4-FFF2-40B4-BE49-F238E27FC236}">
                <a16:creationId xmlns:a16="http://schemas.microsoft.com/office/drawing/2014/main" id="{04A7A74E-D993-4663-B6E1-0C7ECECC8C90}"/>
              </a:ext>
            </a:extLst>
          </p:cNvPr>
          <p:cNvSpPr>
            <a:spLocks noChangeAspect="1"/>
          </p:cNvSpPr>
          <p:nvPr/>
        </p:nvSpPr>
        <p:spPr>
          <a:xfrm>
            <a:off x="2292026" y="4869681"/>
            <a:ext cx="1136990" cy="668013"/>
          </a:xfrm>
          <a:prstGeom prst="roundRect">
            <a:avLst/>
          </a:prstGeom>
          <a:solidFill>
            <a:srgbClr val="FFFFFF"/>
          </a:solidFill>
          <a:ln w="19050" cap="rnd">
            <a:solidFill>
              <a:srgbClr val="30C1D7"/>
            </a:solidFill>
          </a:ln>
        </p:spPr>
        <p:style>
          <a:lnRef idx="2">
            <a:schemeClr val="accent1">
              <a:shade val="50000"/>
            </a:schemeClr>
          </a:lnRef>
          <a:fillRef idx="1">
            <a:schemeClr val="accent1"/>
          </a:fillRef>
          <a:effectRef idx="0">
            <a:schemeClr val="accent1"/>
          </a:effectRef>
          <a:fontRef idx="minor">
            <a:schemeClr val="lt1"/>
          </a:fontRef>
        </p:style>
        <p:txBody>
          <a:bodyPr wrap="square" lIns="37440" tIns="37440" rIns="37440" bIns="37440" rtlCol="0" anchor="ctr">
            <a:noAutofit/>
          </a:bodyPr>
          <a:lstStyle/>
          <a:p>
            <a:pPr algn="ctr">
              <a:defRPr/>
            </a:pPr>
            <a:r>
              <a:rPr lang="tr-TR" sz="1400" b="1" kern="0" dirty="0">
                <a:solidFill>
                  <a:srgbClr val="30C1D7"/>
                </a:solidFill>
                <a:latin typeface="Calibri" panose="020F0502020204030204" pitchFamily="34" charset="0"/>
                <a:cs typeface="Calibri" panose="020F0502020204030204" pitchFamily="34" charset="0"/>
              </a:rPr>
              <a:t>~</a:t>
            </a:r>
            <a:r>
              <a:rPr lang="tr-TR" sz="1400" b="1" kern="0" dirty="0" smtClean="0">
                <a:solidFill>
                  <a:srgbClr val="30C1D7"/>
                </a:solidFill>
                <a:latin typeface="Calibri" panose="020F0502020204030204" pitchFamily="34" charset="0"/>
                <a:cs typeface="Calibri" panose="020F0502020204030204" pitchFamily="34" charset="0"/>
              </a:rPr>
              <a:t>0.74 </a:t>
            </a:r>
            <a:r>
              <a:rPr lang="nb-NO" sz="1400" b="1" kern="0" dirty="0" smtClean="0">
                <a:solidFill>
                  <a:srgbClr val="30C1D7"/>
                </a:solidFill>
                <a:latin typeface="Calibri" panose="020F0502020204030204" pitchFamily="34" charset="0"/>
                <a:cs typeface="Calibri" panose="020F0502020204030204" pitchFamily="34" charset="0"/>
              </a:rPr>
              <a:t>Mt </a:t>
            </a:r>
            <a:r>
              <a:rPr lang="nb-NO" sz="1400" b="1" kern="0" dirty="0">
                <a:solidFill>
                  <a:srgbClr val="30C1D7"/>
                </a:solidFill>
                <a:latin typeface="Calibri" panose="020F0502020204030204" pitchFamily="34" charset="0"/>
                <a:cs typeface="Calibri" panose="020F0502020204030204" pitchFamily="34" charset="0"/>
              </a:rPr>
              <a:t>CO2e </a:t>
            </a:r>
            <a:r>
              <a:rPr lang="tr-TR" sz="1400" b="1" kern="0" dirty="0" smtClean="0">
                <a:solidFill>
                  <a:srgbClr val="30C1D7"/>
                </a:solidFill>
                <a:latin typeface="Calibri" panose="020F0502020204030204" pitchFamily="34" charset="0"/>
                <a:cs typeface="Calibri" panose="020F0502020204030204" pitchFamily="34" charset="0"/>
              </a:rPr>
              <a:t>/ </a:t>
            </a:r>
            <a:r>
              <a:rPr lang="tr-TR" sz="1400" b="1" kern="0" dirty="0" err="1" smtClean="0">
                <a:solidFill>
                  <a:srgbClr val="30C1D7"/>
                </a:solidFill>
                <a:latin typeface="Calibri" panose="020F0502020204030204" pitchFamily="34" charset="0"/>
                <a:cs typeface="Calibri" panose="020F0502020204030204" pitchFamily="34" charset="0"/>
              </a:rPr>
              <a:t>yr</a:t>
            </a:r>
            <a:endParaRPr lang="nb-NO" sz="1400" b="1" kern="0" dirty="0">
              <a:solidFill>
                <a:srgbClr val="30C1D7"/>
              </a:solidFill>
              <a:latin typeface="Calibri" panose="020F0502020204030204" pitchFamily="34" charset="0"/>
              <a:cs typeface="Calibri" panose="020F0502020204030204" pitchFamily="34" charset="0"/>
            </a:endParaRPr>
          </a:p>
        </p:txBody>
      </p:sp>
      <p:sp>
        <p:nvSpPr>
          <p:cNvPr id="109" name="Rectangle 108">
            <a:extLst>
              <a:ext uri="{FF2B5EF4-FFF2-40B4-BE49-F238E27FC236}">
                <a16:creationId xmlns:a16="http://schemas.microsoft.com/office/drawing/2014/main" id="{D1FF0838-BBC0-4332-B4CA-B2C8B1FE643C}"/>
              </a:ext>
            </a:extLst>
          </p:cNvPr>
          <p:cNvSpPr/>
          <p:nvPr/>
        </p:nvSpPr>
        <p:spPr>
          <a:xfrm>
            <a:off x="8340155" y="1842465"/>
            <a:ext cx="3106266" cy="584775"/>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kumimoji="0" lang="en-US" sz="1400" b="1" i="0" u="none" strike="noStrike" kern="1200" cap="none" spc="0" normalizeH="0" baseline="0" noProof="0" dirty="0">
                <a:ln>
                  <a:noFill/>
                </a:ln>
                <a:solidFill>
                  <a:srgbClr val="30C1D7"/>
                </a:solidFill>
                <a:effectLst/>
                <a:uLnTx/>
                <a:uFillTx/>
                <a:latin typeface="Calibri" panose="020F0502020204030204" pitchFamily="34" charset="0"/>
                <a:cs typeface="Calibri" panose="020F0502020204030204" pitchFamily="34" charset="0"/>
              </a:rPr>
              <a:t>Project stage:</a:t>
            </a:r>
            <a:r>
              <a:rPr kumimoji="0" lang="en-US" sz="1400" b="0" i="0" u="none" strike="noStrike" kern="1200" cap="none" spc="0" normalizeH="0" baseline="0" noProof="0" dirty="0">
                <a:ln>
                  <a:noFill/>
                </a:ln>
                <a:solidFill>
                  <a:srgbClr val="575757"/>
                </a:solidFill>
                <a:effectLst/>
                <a:uLnTx/>
                <a:uFillTx/>
                <a:latin typeface="Calibri" panose="020F0502020204030204" pitchFamily="34" charset="0"/>
                <a:cs typeface="Calibri" panose="020F0502020204030204" pitchFamily="34" charset="0"/>
              </a:rPr>
              <a:t> </a:t>
            </a:r>
            <a:r>
              <a:rPr lang="en-GB" sz="1400" dirty="0">
                <a:solidFill>
                  <a:srgbClr val="575757"/>
                </a:solidFill>
                <a:latin typeface="Calibri" panose="020F0502020204030204" pitchFamily="34" charset="0"/>
                <a:cs typeface="Calibri" panose="020F0502020204030204" pitchFamily="34" charset="0"/>
              </a:rPr>
              <a:t>Project design</a:t>
            </a:r>
          </a:p>
          <a:p>
            <a:pPr>
              <a:defRPr/>
            </a:pPr>
            <a:endParaRPr lang="en-US" sz="1200" dirty="0">
              <a:solidFill>
                <a:srgbClr val="575757"/>
              </a:solidFill>
              <a:latin typeface="Calibri" panose="020F0502020204030204" pitchFamily="34" charset="0"/>
              <a:cs typeface="Calibri" panose="020F0502020204030204" pitchFamily="34" charset="0"/>
            </a:endParaRPr>
          </a:p>
          <a:p>
            <a:pP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11" name="Rectangle 110">
            <a:extLst>
              <a:ext uri="{FF2B5EF4-FFF2-40B4-BE49-F238E27FC236}">
                <a16:creationId xmlns:a16="http://schemas.microsoft.com/office/drawing/2014/main" id="{00D07B54-7F70-4BF2-BE22-0E02CA732BEB}"/>
              </a:ext>
            </a:extLst>
          </p:cNvPr>
          <p:cNvSpPr/>
          <p:nvPr/>
        </p:nvSpPr>
        <p:spPr>
          <a:xfrm>
            <a:off x="8340155" y="2073662"/>
            <a:ext cx="3743690" cy="4915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0" lang="en-US" sz="1400" b="1" i="0" u="none" strike="noStrike" kern="1200" cap="none" spc="0" normalizeH="0" baseline="0" noProof="0" dirty="0" smtClean="0">
                <a:ln>
                  <a:noFill/>
                </a:ln>
                <a:solidFill>
                  <a:srgbClr val="30C1D7"/>
                </a:solidFill>
                <a:effectLst/>
                <a:uLnTx/>
                <a:uFillTx/>
                <a:latin typeface="Calibri" panose="020F0502020204030204" pitchFamily="34" charset="0"/>
                <a:cs typeface="Calibri" panose="020F0502020204030204" pitchFamily="34" charset="0"/>
              </a:rPr>
              <a:t>Project timelines:</a:t>
            </a:r>
            <a:r>
              <a:rPr kumimoji="0" lang="en-US" sz="1400" b="0" i="0" u="none" strike="noStrike" kern="1200" cap="none" spc="0" normalizeH="0" baseline="0" noProof="0" dirty="0" smtClean="0">
                <a:ln>
                  <a:noFill/>
                </a:ln>
                <a:solidFill>
                  <a:srgbClr val="575757"/>
                </a:solidFill>
                <a:effectLst/>
                <a:uLnTx/>
                <a:uFillTx/>
                <a:latin typeface="Calibri" panose="020F0502020204030204" pitchFamily="34" charset="0"/>
                <a:cs typeface="Calibri" panose="020F0502020204030204" pitchFamily="34" charset="0"/>
              </a:rPr>
              <a:t> </a:t>
            </a:r>
            <a:endParaRPr kumimoji="0" lang="tr-TR" sz="1400" b="1" i="0" u="none" strike="noStrike" kern="1200" cap="none" spc="0" normalizeH="0" baseline="0" noProof="0" dirty="0" smtClean="0">
              <a:ln>
                <a:noFill/>
              </a:ln>
              <a:solidFill>
                <a:srgbClr val="30C1D7"/>
              </a:solidFill>
              <a:effectLst/>
              <a:uLnTx/>
              <a:uFillTx/>
              <a:latin typeface="Calibri" panose="020F0502020204030204" pitchFamily="34" charset="0"/>
              <a:cs typeface="Calibri" panose="020F0502020204030204" pitchFamily="34" charset="0"/>
            </a:endParaRPr>
          </a:p>
          <a:p>
            <a:r>
              <a:rPr lang="tr-TR" sz="1400" dirty="0" err="1" smtClean="0">
                <a:solidFill>
                  <a:srgbClr val="575757"/>
                </a:solidFill>
                <a:latin typeface="Calibri" panose="020F0502020204030204" pitchFamily="34" charset="0"/>
                <a:cs typeface="Calibri" panose="020F0502020204030204" pitchFamily="34" charset="0"/>
              </a:rPr>
              <a:t>Concept</a:t>
            </a:r>
            <a:r>
              <a:rPr lang="tr-TR" sz="1400" dirty="0" smtClean="0">
                <a:solidFill>
                  <a:srgbClr val="575757"/>
                </a:solidFill>
                <a:latin typeface="Calibri" panose="020F0502020204030204" pitchFamily="34" charset="0"/>
                <a:cs typeface="Calibri" panose="020F0502020204030204" pitchFamily="34" charset="0"/>
              </a:rPr>
              <a:t> </a:t>
            </a:r>
            <a:r>
              <a:rPr lang="tr-TR" sz="1400" dirty="0">
                <a:solidFill>
                  <a:srgbClr val="575757"/>
                </a:solidFill>
                <a:latin typeface="Calibri" panose="020F0502020204030204" pitchFamily="34" charset="0"/>
                <a:cs typeface="Calibri" panose="020F0502020204030204" pitchFamily="34" charset="0"/>
              </a:rPr>
              <a:t>in 2024 </a:t>
            </a:r>
            <a:r>
              <a:rPr lang="tr-TR" sz="1400" dirty="0" smtClean="0">
                <a:solidFill>
                  <a:srgbClr val="575757"/>
                </a:solidFill>
                <a:latin typeface="Calibri" panose="020F0502020204030204" pitchFamily="34" charset="0"/>
                <a:cs typeface="Calibri" panose="020F0502020204030204" pitchFamily="34" charset="0"/>
              </a:rPr>
              <a:t>-2025 (LTS &amp; 2nd </a:t>
            </a:r>
            <a:r>
              <a:rPr lang="tr-TR" sz="1400" dirty="0">
                <a:solidFill>
                  <a:srgbClr val="575757"/>
                </a:solidFill>
                <a:latin typeface="Calibri" panose="020F0502020204030204" pitchFamily="34" charset="0"/>
                <a:cs typeface="Calibri" panose="020F0502020204030204" pitchFamily="34" charset="0"/>
              </a:rPr>
              <a:t>NDC</a:t>
            </a:r>
            <a:r>
              <a:rPr lang="tr-TR" sz="1400" dirty="0" smtClean="0">
                <a:solidFill>
                  <a:srgbClr val="575757"/>
                </a:solidFill>
                <a:latin typeface="Calibri" panose="020F0502020204030204" pitchFamily="34" charset="0"/>
                <a:cs typeface="Calibri" panose="020F0502020204030204" pitchFamily="34" charset="0"/>
              </a:rPr>
              <a:t>),</a:t>
            </a:r>
          </a:p>
          <a:p>
            <a:r>
              <a:rPr lang="tr-TR" sz="1400" dirty="0" smtClean="0">
                <a:solidFill>
                  <a:srgbClr val="575757"/>
                </a:solidFill>
                <a:latin typeface="Calibri" panose="020F0502020204030204" pitchFamily="34" charset="0"/>
                <a:cs typeface="Calibri" panose="020F0502020204030204" pitchFamily="34" charset="0"/>
              </a:rPr>
              <a:t> </a:t>
            </a:r>
            <a:r>
              <a:rPr lang="tr-TR" sz="1400" dirty="0" err="1">
                <a:solidFill>
                  <a:srgbClr val="575757"/>
                </a:solidFill>
                <a:latin typeface="Calibri" panose="020F0502020204030204" pitchFamily="34" charset="0"/>
                <a:cs typeface="Calibri" panose="020F0502020204030204" pitchFamily="34" charset="0"/>
              </a:rPr>
              <a:t>I</a:t>
            </a:r>
            <a:r>
              <a:rPr lang="tr-TR" sz="1400" dirty="0" err="1" smtClean="0">
                <a:solidFill>
                  <a:srgbClr val="575757"/>
                </a:solidFill>
                <a:latin typeface="Calibri" panose="020F0502020204030204" pitchFamily="34" charset="0"/>
                <a:cs typeface="Calibri" panose="020F0502020204030204" pitchFamily="34" charset="0"/>
              </a:rPr>
              <a:t>mpact</a:t>
            </a:r>
            <a:r>
              <a:rPr lang="tr-TR" sz="1400" dirty="0" smtClean="0">
                <a:solidFill>
                  <a:srgbClr val="575757"/>
                </a:solidFill>
                <a:latin typeface="Calibri" panose="020F0502020204030204" pitchFamily="34" charset="0"/>
                <a:cs typeface="Calibri" panose="020F0502020204030204" pitchFamily="34" charset="0"/>
              </a:rPr>
              <a:t> </a:t>
            </a:r>
            <a:r>
              <a:rPr lang="tr-TR" sz="1400" dirty="0" smtClean="0">
                <a:solidFill>
                  <a:srgbClr val="575757"/>
                </a:solidFill>
                <a:latin typeface="Calibri" panose="020F0502020204030204" pitchFamily="34" charset="0"/>
                <a:cs typeface="Calibri" panose="020F0502020204030204" pitchFamily="34" charset="0"/>
              </a:rPr>
              <a:t>2027–2035 </a:t>
            </a:r>
            <a:r>
              <a:rPr lang="tr-TR" sz="1400" dirty="0">
                <a:solidFill>
                  <a:srgbClr val="575757"/>
                </a:solidFill>
                <a:latin typeface="Calibri" panose="020F0502020204030204" pitchFamily="34" charset="0"/>
                <a:cs typeface="Calibri" panose="020F0502020204030204" pitchFamily="34" charset="0"/>
              </a:rPr>
              <a:t>(2nd NDC &amp; 2053 net-</a:t>
            </a:r>
            <a:r>
              <a:rPr lang="tr-TR" sz="1400" dirty="0" err="1">
                <a:solidFill>
                  <a:srgbClr val="575757"/>
                </a:solidFill>
                <a:latin typeface="Calibri" panose="020F0502020204030204" pitchFamily="34" charset="0"/>
                <a:cs typeface="Calibri" panose="020F0502020204030204" pitchFamily="34" charset="0"/>
              </a:rPr>
              <a:t>zero</a:t>
            </a:r>
            <a:r>
              <a:rPr lang="tr-TR" sz="1400" dirty="0" smtClean="0">
                <a:solidFill>
                  <a:srgbClr val="575757"/>
                </a:solidFill>
                <a:latin typeface="Calibri" panose="020F0502020204030204" pitchFamily="34" charset="0"/>
                <a:cs typeface="Calibri" panose="020F0502020204030204" pitchFamily="34" charset="0"/>
              </a:rPr>
              <a:t>)</a:t>
            </a:r>
            <a:endParaRPr lang="tr-TR" sz="1400" dirty="0">
              <a:solidFill>
                <a:srgbClr val="575757"/>
              </a:solidFill>
              <a:latin typeface="Calibri" panose="020F0502020204030204" pitchFamily="34" charset="0"/>
              <a:cs typeface="Calibri" panose="020F0502020204030204" pitchFamily="34" charset="0"/>
            </a:endParaRPr>
          </a:p>
        </p:txBody>
      </p:sp>
      <p:sp>
        <p:nvSpPr>
          <p:cNvPr id="118" name="Rectangle 117">
            <a:extLst>
              <a:ext uri="{FF2B5EF4-FFF2-40B4-BE49-F238E27FC236}">
                <a16:creationId xmlns:a16="http://schemas.microsoft.com/office/drawing/2014/main" id="{6B83B5FA-158C-487A-9954-2DEF113E1DB6}"/>
              </a:ext>
            </a:extLst>
          </p:cNvPr>
          <p:cNvSpPr/>
          <p:nvPr/>
        </p:nvSpPr>
        <p:spPr>
          <a:xfrm>
            <a:off x="6362428" y="3367386"/>
            <a:ext cx="5200922" cy="1064991"/>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19" name="TextBox 118">
            <a:extLst>
              <a:ext uri="{FF2B5EF4-FFF2-40B4-BE49-F238E27FC236}">
                <a16:creationId xmlns:a16="http://schemas.microsoft.com/office/drawing/2014/main" id="{B66C2314-77ED-4260-9D38-C7D45AEE6D1A}"/>
              </a:ext>
            </a:extLst>
          </p:cNvPr>
          <p:cNvSpPr txBox="1"/>
          <p:nvPr/>
        </p:nvSpPr>
        <p:spPr>
          <a:xfrm>
            <a:off x="6453554" y="3285455"/>
            <a:ext cx="1251378" cy="17213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Project structure</a:t>
            </a:r>
          </a:p>
        </p:txBody>
      </p:sp>
      <p:sp>
        <p:nvSpPr>
          <p:cNvPr id="120" name="Rectangle 119">
            <a:extLst>
              <a:ext uri="{FF2B5EF4-FFF2-40B4-BE49-F238E27FC236}">
                <a16:creationId xmlns:a16="http://schemas.microsoft.com/office/drawing/2014/main" id="{1957ACEF-1EB8-40B3-935A-F5C167DF512D}"/>
              </a:ext>
            </a:extLst>
          </p:cNvPr>
          <p:cNvSpPr/>
          <p:nvPr/>
        </p:nvSpPr>
        <p:spPr>
          <a:xfrm>
            <a:off x="8132953" y="3464490"/>
            <a:ext cx="1409373"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defRPr/>
            </a:pPr>
            <a:r>
              <a:rPr kumimoji="0" lang="en-US" sz="1200" b="1" i="0" u="none" strike="noStrike" kern="1200" cap="none" spc="0" normalizeH="0" baseline="0" noProof="0" dirty="0">
                <a:ln>
                  <a:noFill/>
                </a:ln>
                <a:solidFill>
                  <a:srgbClr val="30C1D7"/>
                </a:solidFill>
                <a:effectLst/>
                <a:uLnTx/>
                <a:uFillTx/>
                <a:latin typeface="Calibri" panose="020F0502020204030204" pitchFamily="34" charset="0"/>
                <a:ea typeface="+mn-ea"/>
                <a:cs typeface="Calibri" panose="020F0502020204030204" pitchFamily="34" charset="0"/>
              </a:rPr>
              <a:t>Contractual structure</a:t>
            </a:r>
          </a:p>
          <a:p>
            <a:pPr algn="ctr">
              <a:defRPr/>
            </a:pPr>
            <a:r>
              <a:rPr lang="tr-TR" sz="1400" dirty="0" smtClean="0">
                <a:solidFill>
                  <a:srgbClr val="575757"/>
                </a:solidFill>
                <a:latin typeface="Calibri" panose="020F0502020204030204" pitchFamily="34" charset="0"/>
                <a:cs typeface="Calibri" panose="020F0502020204030204" pitchFamily="34" charset="0"/>
              </a:rPr>
              <a:t>Grant-</a:t>
            </a:r>
            <a:r>
              <a:rPr lang="tr-TR" sz="1400" dirty="0" err="1" smtClean="0">
                <a:solidFill>
                  <a:srgbClr val="575757"/>
                </a:solidFill>
                <a:latin typeface="Calibri" panose="020F0502020204030204" pitchFamily="34" charset="0"/>
                <a:cs typeface="Calibri" panose="020F0502020204030204" pitchFamily="34" charset="0"/>
              </a:rPr>
              <a:t>based</a:t>
            </a:r>
            <a:r>
              <a:rPr lang="tr-TR" sz="1400" dirty="0" smtClean="0">
                <a:solidFill>
                  <a:srgbClr val="575757"/>
                </a:solidFill>
                <a:latin typeface="Calibri" panose="020F0502020204030204" pitchFamily="34" charset="0"/>
                <a:cs typeface="Calibri" panose="020F0502020204030204" pitchFamily="34" charset="0"/>
              </a:rPr>
              <a:t> </a:t>
            </a:r>
            <a:r>
              <a:rPr lang="tr-TR" sz="1400" dirty="0" err="1">
                <a:solidFill>
                  <a:srgbClr val="575757"/>
                </a:solidFill>
                <a:latin typeface="Calibri" panose="020F0502020204030204" pitchFamily="34" charset="0"/>
                <a:cs typeface="Calibri" panose="020F0502020204030204" pitchFamily="34" charset="0"/>
              </a:rPr>
              <a:t>capacity</a:t>
            </a:r>
            <a:r>
              <a:rPr lang="tr-TR" sz="1400" dirty="0">
                <a:solidFill>
                  <a:srgbClr val="575757"/>
                </a:solidFill>
                <a:latin typeface="Calibri" panose="020F0502020204030204" pitchFamily="34" charset="0"/>
                <a:cs typeface="Calibri" panose="020F0502020204030204" pitchFamily="34" charset="0"/>
              </a:rPr>
              <a:t> </a:t>
            </a:r>
            <a:r>
              <a:rPr lang="tr-TR" sz="1400" dirty="0" err="1">
                <a:solidFill>
                  <a:srgbClr val="575757"/>
                </a:solidFill>
                <a:latin typeface="Calibri" panose="020F0502020204030204" pitchFamily="34" charset="0"/>
                <a:cs typeface="Calibri" panose="020F0502020204030204" pitchFamily="34" charset="0"/>
              </a:rPr>
              <a:t>building</a:t>
            </a:r>
            <a:r>
              <a:rPr lang="tr-TR" sz="1400" dirty="0">
                <a:solidFill>
                  <a:srgbClr val="575757"/>
                </a:solidFill>
                <a:latin typeface="Calibri" panose="020F0502020204030204" pitchFamily="34" charset="0"/>
                <a:cs typeface="Calibri" panose="020F0502020204030204" pitchFamily="34" charset="0"/>
              </a:rPr>
              <a:t> program</a:t>
            </a:r>
            <a:endParaRPr lang="en-US" sz="1400" dirty="0">
              <a:solidFill>
                <a:srgbClr val="575757"/>
              </a:solidFill>
              <a:latin typeface="Calibri" panose="020F0502020204030204" pitchFamily="34" charset="0"/>
              <a:cs typeface="Calibri" panose="020F0502020204030204" pitchFamily="34" charset="0"/>
            </a:endParaRPr>
          </a:p>
        </p:txBody>
      </p:sp>
      <p:sp>
        <p:nvSpPr>
          <p:cNvPr id="121" name="Rectangle 120">
            <a:extLst>
              <a:ext uri="{FF2B5EF4-FFF2-40B4-BE49-F238E27FC236}">
                <a16:creationId xmlns:a16="http://schemas.microsoft.com/office/drawing/2014/main" id="{79A2DABA-FD19-44CC-BD4F-E01952E639FA}"/>
              </a:ext>
            </a:extLst>
          </p:cNvPr>
          <p:cNvSpPr/>
          <p:nvPr/>
        </p:nvSpPr>
        <p:spPr>
          <a:xfrm>
            <a:off x="9799455" y="3464490"/>
            <a:ext cx="1409373"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defRPr/>
            </a:pPr>
            <a:r>
              <a:rPr kumimoji="0" lang="en-US" sz="1200" b="1" i="0" u="none" strike="noStrike" kern="1200" cap="none" spc="0" normalizeH="0" baseline="0" noProof="0" dirty="0">
                <a:ln>
                  <a:noFill/>
                </a:ln>
                <a:solidFill>
                  <a:srgbClr val="30C1D7"/>
                </a:solidFill>
                <a:effectLst/>
                <a:uLnTx/>
                <a:uFillTx/>
                <a:latin typeface="Calibri" panose="020F0502020204030204" pitchFamily="34" charset="0"/>
                <a:ea typeface="+mn-ea"/>
                <a:cs typeface="Calibri" panose="020F0502020204030204" pitchFamily="34" charset="0"/>
              </a:rPr>
              <a:t>Project </a:t>
            </a:r>
            <a:r>
              <a:rPr lang="en-US" sz="1200" b="1" dirty="0">
                <a:solidFill>
                  <a:srgbClr val="30C1D7"/>
                </a:solidFill>
                <a:latin typeface="Calibri" panose="020F0502020204030204" pitchFamily="34" charset="0"/>
                <a:cs typeface="Calibri" panose="020F0502020204030204" pitchFamily="34" charset="0"/>
              </a:rPr>
              <a:t>sponsor</a:t>
            </a:r>
          </a:p>
          <a:p>
            <a:pPr algn="ctr">
              <a:defRPr/>
            </a:pPr>
            <a:r>
              <a:rPr lang="tr-TR" sz="1400" dirty="0" err="1">
                <a:solidFill>
                  <a:srgbClr val="575757"/>
                </a:solidFill>
                <a:latin typeface="Calibri" panose="020F0502020204030204" pitchFamily="34" charset="0"/>
                <a:cs typeface="Calibri" panose="020F0502020204030204" pitchFamily="34" charset="0"/>
              </a:rPr>
              <a:t>Directorate</a:t>
            </a:r>
            <a:r>
              <a:rPr lang="tr-TR" sz="1400" dirty="0">
                <a:solidFill>
                  <a:srgbClr val="575757"/>
                </a:solidFill>
                <a:latin typeface="Calibri" panose="020F0502020204030204" pitchFamily="34" charset="0"/>
                <a:cs typeface="Calibri" panose="020F0502020204030204" pitchFamily="34" charset="0"/>
              </a:rPr>
              <a:t> of </a:t>
            </a:r>
            <a:r>
              <a:rPr lang="en-US" sz="1400" dirty="0">
                <a:solidFill>
                  <a:srgbClr val="575757"/>
                </a:solidFill>
                <a:latin typeface="Calibri" panose="020F0502020204030204" pitchFamily="34" charset="0"/>
                <a:cs typeface="Calibri" panose="020F0502020204030204" pitchFamily="34" charset="0"/>
              </a:rPr>
              <a:t>Climate Change</a:t>
            </a:r>
            <a:r>
              <a:rPr lang="tr-TR" sz="1400" dirty="0">
                <a:solidFill>
                  <a:srgbClr val="575757"/>
                </a:solidFill>
                <a:latin typeface="Calibri" panose="020F0502020204030204" pitchFamily="34" charset="0"/>
                <a:cs typeface="Calibri" panose="020F0502020204030204" pitchFamily="34" charset="0"/>
              </a:rPr>
              <a:t> </a:t>
            </a:r>
            <a:r>
              <a:rPr lang="en-US" sz="1400" dirty="0">
                <a:solidFill>
                  <a:srgbClr val="575757"/>
                </a:solidFill>
                <a:latin typeface="Calibri" panose="020F0502020204030204" pitchFamily="34" charset="0"/>
                <a:cs typeface="Calibri" panose="020F0502020204030204" pitchFamily="34" charset="0"/>
              </a:rPr>
              <a:t>(</a:t>
            </a:r>
            <a:r>
              <a:rPr lang="en-US" sz="1400" dirty="0" err="1">
                <a:solidFill>
                  <a:srgbClr val="575757"/>
                </a:solidFill>
                <a:latin typeface="Calibri" panose="020F0502020204030204" pitchFamily="34" charset="0"/>
                <a:cs typeface="Calibri" panose="020F0502020204030204" pitchFamily="34" charset="0"/>
              </a:rPr>
              <a:t>MoEUCC</a:t>
            </a:r>
            <a:r>
              <a:rPr lang="en-US" sz="1400" dirty="0">
                <a:solidFill>
                  <a:srgbClr val="575757"/>
                </a:solidFill>
                <a:latin typeface="Calibri" panose="020F0502020204030204" pitchFamily="34" charset="0"/>
                <a:cs typeface="Calibri" panose="020F0502020204030204" pitchFamily="34" charset="0"/>
              </a:rPr>
              <a:t>) </a:t>
            </a:r>
          </a:p>
        </p:txBody>
      </p:sp>
      <p:sp>
        <p:nvSpPr>
          <p:cNvPr id="6" name="TextBox 5">
            <a:extLst>
              <a:ext uri="{FF2B5EF4-FFF2-40B4-BE49-F238E27FC236}">
                <a16:creationId xmlns:a16="http://schemas.microsoft.com/office/drawing/2014/main" id="{F8B39A02-3369-B5BA-1013-C617F082EB65}"/>
              </a:ext>
            </a:extLst>
          </p:cNvPr>
          <p:cNvSpPr txBox="1"/>
          <p:nvPr/>
        </p:nvSpPr>
        <p:spPr>
          <a:xfrm>
            <a:off x="526085" y="1033234"/>
            <a:ext cx="3244323" cy="2641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smtClean="0">
                <a:solidFill>
                  <a:srgbClr val="575757"/>
                </a:solidFill>
              </a:rPr>
              <a:t>Country:</a:t>
            </a:r>
            <a:r>
              <a:rPr lang="tr-TR" dirty="0" smtClean="0">
                <a:solidFill>
                  <a:srgbClr val="575757"/>
                </a:solidFill>
                <a:latin typeface="Calibri" panose="020F0502020204030204" pitchFamily="34" charset="0"/>
                <a:cs typeface="Calibri" panose="020F0502020204030204" pitchFamily="34" charset="0"/>
              </a:rPr>
              <a:t>Türkiye</a:t>
            </a:r>
            <a:endParaRPr kumimoji="0" lang="en-US" sz="18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endParaRPr>
          </a:p>
        </p:txBody>
      </p:sp>
      <p:grpSp>
        <p:nvGrpSpPr>
          <p:cNvPr id="4" name="Group 3">
            <a:extLst>
              <a:ext uri="{FF2B5EF4-FFF2-40B4-BE49-F238E27FC236}">
                <a16:creationId xmlns:a16="http://schemas.microsoft.com/office/drawing/2014/main" id="{56FB838E-C3DF-13B7-3DAC-EC5756F82A38}"/>
              </a:ext>
            </a:extLst>
          </p:cNvPr>
          <p:cNvGrpSpPr/>
          <p:nvPr/>
        </p:nvGrpSpPr>
        <p:grpSpPr>
          <a:xfrm>
            <a:off x="977237" y="3444844"/>
            <a:ext cx="548640" cy="548640"/>
            <a:chOff x="11766207" y="2987582"/>
            <a:chExt cx="604062" cy="604621"/>
          </a:xfrm>
        </p:grpSpPr>
        <p:sp>
          <p:nvSpPr>
            <p:cNvPr id="7" name="AutoShape 33">
              <a:extLst>
                <a:ext uri="{FF2B5EF4-FFF2-40B4-BE49-F238E27FC236}">
                  <a16:creationId xmlns:a16="http://schemas.microsoft.com/office/drawing/2014/main" id="{CDFF9524-4C2C-4C8C-290F-18C864987222}"/>
                </a:ext>
              </a:extLst>
            </p:cNvPr>
            <p:cNvSpPr>
              <a:spLocks noChangeAspect="1" noChangeArrowheads="1" noTextEdit="1"/>
            </p:cNvSpPr>
            <p:nvPr/>
          </p:nvSpPr>
          <p:spPr bwMode="auto">
            <a:xfrm>
              <a:off x="11766207" y="2987582"/>
              <a:ext cx="604062" cy="604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35">
              <a:extLst>
                <a:ext uri="{FF2B5EF4-FFF2-40B4-BE49-F238E27FC236}">
                  <a16:creationId xmlns:a16="http://schemas.microsoft.com/office/drawing/2014/main" id="{99694394-C965-2636-5CE3-F4A61BF4C4AB}"/>
                </a:ext>
              </a:extLst>
            </p:cNvPr>
            <p:cNvSpPr>
              <a:spLocks noEditPoints="1"/>
            </p:cNvSpPr>
            <p:nvPr/>
          </p:nvSpPr>
          <p:spPr bwMode="auto">
            <a:xfrm>
              <a:off x="11836746" y="3062180"/>
              <a:ext cx="462984" cy="420296"/>
            </a:xfrm>
            <a:custGeom>
              <a:avLst/>
              <a:gdLst>
                <a:gd name="T0" fmla="*/ 1593 w 1766"/>
                <a:gd name="T1" fmla="*/ 1139 h 1602"/>
                <a:gd name="T2" fmla="*/ 1358 w 1766"/>
                <a:gd name="T3" fmla="*/ 1054 h 1602"/>
                <a:gd name="T4" fmla="*/ 1528 w 1766"/>
                <a:gd name="T5" fmla="*/ 845 h 1602"/>
                <a:gd name="T6" fmla="*/ 1535 w 1766"/>
                <a:gd name="T7" fmla="*/ 679 h 1602"/>
                <a:gd name="T8" fmla="*/ 1148 w 1766"/>
                <a:gd name="T9" fmla="*/ 129 h 1602"/>
                <a:gd name="T10" fmla="*/ 1202 w 1766"/>
                <a:gd name="T11" fmla="*/ 0 h 1602"/>
                <a:gd name="T12" fmla="*/ 1148 w 1766"/>
                <a:gd name="T13" fmla="*/ 129 h 1602"/>
                <a:gd name="T14" fmla="*/ 245 w 1766"/>
                <a:gd name="T15" fmla="*/ 902 h 1602"/>
                <a:gd name="T16" fmla="*/ 390 w 1766"/>
                <a:gd name="T17" fmla="*/ 1096 h 1602"/>
                <a:gd name="T18" fmla="*/ 153 w 1766"/>
                <a:gd name="T19" fmla="*/ 719 h 1602"/>
                <a:gd name="T20" fmla="*/ 60 w 1766"/>
                <a:gd name="T21" fmla="*/ 615 h 1602"/>
                <a:gd name="T22" fmla="*/ 644 w 1766"/>
                <a:gd name="T23" fmla="*/ 272 h 1602"/>
                <a:gd name="T24" fmla="*/ 695 w 1766"/>
                <a:gd name="T25" fmla="*/ 114 h 1602"/>
                <a:gd name="T26" fmla="*/ 644 w 1766"/>
                <a:gd name="T27" fmla="*/ 272 h 1602"/>
                <a:gd name="T28" fmla="*/ 407 w 1766"/>
                <a:gd name="T29" fmla="*/ 1276 h 1602"/>
                <a:gd name="T30" fmla="*/ 433 w 1766"/>
                <a:gd name="T31" fmla="*/ 1208 h 1602"/>
                <a:gd name="T32" fmla="*/ 402 w 1766"/>
                <a:gd name="T33" fmla="*/ 1148 h 1602"/>
                <a:gd name="T34" fmla="*/ 613 w 1766"/>
                <a:gd name="T35" fmla="*/ 1265 h 1602"/>
                <a:gd name="T36" fmla="*/ 1314 w 1766"/>
                <a:gd name="T37" fmla="*/ 1268 h 1602"/>
                <a:gd name="T38" fmla="*/ 1059 w 1766"/>
                <a:gd name="T39" fmla="*/ 1135 h 1602"/>
                <a:gd name="T40" fmla="*/ 1221 w 1766"/>
                <a:gd name="T41" fmla="*/ 828 h 1602"/>
                <a:gd name="T42" fmla="*/ 1270 w 1766"/>
                <a:gd name="T43" fmla="*/ 400 h 1602"/>
                <a:gd name="T44" fmla="*/ 913 w 1766"/>
                <a:gd name="T45" fmla="*/ 812 h 1602"/>
                <a:gd name="T46" fmla="*/ 862 w 1766"/>
                <a:gd name="T47" fmla="*/ 468 h 1602"/>
                <a:gd name="T48" fmla="*/ 495 w 1766"/>
                <a:gd name="T49" fmla="*/ 385 h 1602"/>
                <a:gd name="T50" fmla="*/ 834 w 1766"/>
                <a:gd name="T51" fmla="*/ 1192 h 1602"/>
                <a:gd name="T52" fmla="*/ 515 w 1766"/>
                <a:gd name="T53" fmla="*/ 849 h 1602"/>
                <a:gd name="T54" fmla="*/ 448 w 1766"/>
                <a:gd name="T55" fmla="*/ 1260 h 1602"/>
                <a:gd name="T56" fmla="*/ 829 w 1766"/>
                <a:gd name="T57" fmla="*/ 1316 h 1602"/>
                <a:gd name="T58" fmla="*/ 820 w 1766"/>
                <a:gd name="T59" fmla="*/ 1538 h 1602"/>
                <a:gd name="T60" fmla="*/ 942 w 1766"/>
                <a:gd name="T61" fmla="*/ 1538 h 1602"/>
                <a:gd name="T62" fmla="*/ 1032 w 1766"/>
                <a:gd name="T63" fmla="*/ 1175 h 1602"/>
                <a:gd name="T64" fmla="*/ 469 w 1766"/>
                <a:gd name="T65" fmla="*/ 828 h 1602"/>
                <a:gd name="T66" fmla="*/ 580 w 1766"/>
                <a:gd name="T67" fmla="*/ 801 h 1602"/>
                <a:gd name="T68" fmla="*/ 350 w 1766"/>
                <a:gd name="T69" fmla="*/ 588 h 1602"/>
                <a:gd name="T70" fmla="*/ 536 w 1766"/>
                <a:gd name="T71" fmla="*/ 542 h 1602"/>
                <a:gd name="T72" fmla="*/ 467 w 1766"/>
                <a:gd name="T73" fmla="*/ 351 h 1602"/>
                <a:gd name="T74" fmla="*/ 634 w 1766"/>
                <a:gd name="T75" fmla="*/ 469 h 1602"/>
                <a:gd name="T76" fmla="*/ 394 w 1766"/>
                <a:gd name="T77" fmla="*/ 454 h 1602"/>
                <a:gd name="T78" fmla="*/ 1261 w 1766"/>
                <a:gd name="T79" fmla="*/ 338 h 1602"/>
                <a:gd name="T80" fmla="*/ 1307 w 1766"/>
                <a:gd name="T81" fmla="*/ 424 h 1602"/>
                <a:gd name="T82" fmla="*/ 1401 w 1766"/>
                <a:gd name="T83" fmla="*/ 206 h 1602"/>
                <a:gd name="T84" fmla="*/ 1218 w 1766"/>
                <a:gd name="T85" fmla="*/ 359 h 1602"/>
                <a:gd name="T86" fmla="*/ 884 w 1766"/>
                <a:gd name="T87" fmla="*/ 406 h 1602"/>
                <a:gd name="T88" fmla="*/ 951 w 1766"/>
                <a:gd name="T89" fmla="*/ 656 h 1602"/>
                <a:gd name="T90" fmla="*/ 710 w 1766"/>
                <a:gd name="T91" fmla="*/ 422 h 1602"/>
                <a:gd name="T92" fmla="*/ 1419 w 1766"/>
                <a:gd name="T93" fmla="*/ 588 h 1602"/>
                <a:gd name="T94" fmla="*/ 1187 w 1766"/>
                <a:gd name="T95" fmla="*/ 801 h 1602"/>
                <a:gd name="T96" fmla="*/ 1297 w 1766"/>
                <a:gd name="T97" fmla="*/ 828 h 1602"/>
                <a:gd name="T98" fmla="*/ 1381 w 1766"/>
                <a:gd name="T99" fmla="*/ 911 h 1602"/>
                <a:gd name="T100" fmla="*/ 1211 w 1766"/>
                <a:gd name="T101" fmla="*/ 1152 h 1602"/>
                <a:gd name="T102" fmla="*/ 1371 w 1766"/>
                <a:gd name="T103" fmla="*/ 1273 h 1602"/>
                <a:gd name="T104" fmla="*/ 1300 w 1766"/>
                <a:gd name="T105" fmla="*/ 1310 h 1602"/>
                <a:gd name="T106" fmla="*/ 1539 w 1766"/>
                <a:gd name="T107" fmla="*/ 134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66" h="1602">
                  <a:moveTo>
                    <a:pt x="1521" y="902"/>
                  </a:moveTo>
                  <a:cubicBezTo>
                    <a:pt x="1637" y="866"/>
                    <a:pt x="1766" y="956"/>
                    <a:pt x="1766" y="956"/>
                  </a:cubicBezTo>
                  <a:cubicBezTo>
                    <a:pt x="1766" y="956"/>
                    <a:pt x="1708" y="1104"/>
                    <a:pt x="1593" y="1139"/>
                  </a:cubicBezTo>
                  <a:cubicBezTo>
                    <a:pt x="1518" y="1162"/>
                    <a:pt x="1424" y="1120"/>
                    <a:pt x="1377" y="1096"/>
                  </a:cubicBezTo>
                  <a:cubicBezTo>
                    <a:pt x="1377" y="1096"/>
                    <a:pt x="1578" y="1032"/>
                    <a:pt x="1567" y="1005"/>
                  </a:cubicBezTo>
                  <a:cubicBezTo>
                    <a:pt x="1556" y="979"/>
                    <a:pt x="1358" y="1054"/>
                    <a:pt x="1358" y="1054"/>
                  </a:cubicBezTo>
                  <a:cubicBezTo>
                    <a:pt x="1383" y="1008"/>
                    <a:pt x="1445" y="924"/>
                    <a:pt x="1521" y="902"/>
                  </a:cubicBezTo>
                  <a:close/>
                  <a:moveTo>
                    <a:pt x="1601" y="719"/>
                  </a:moveTo>
                  <a:cubicBezTo>
                    <a:pt x="1618" y="730"/>
                    <a:pt x="1528" y="845"/>
                    <a:pt x="1528" y="845"/>
                  </a:cubicBezTo>
                  <a:cubicBezTo>
                    <a:pt x="1564" y="840"/>
                    <a:pt x="1634" y="828"/>
                    <a:pt x="1667" y="785"/>
                  </a:cubicBezTo>
                  <a:cubicBezTo>
                    <a:pt x="1721" y="721"/>
                    <a:pt x="1696" y="615"/>
                    <a:pt x="1696" y="615"/>
                  </a:cubicBezTo>
                  <a:cubicBezTo>
                    <a:pt x="1696" y="615"/>
                    <a:pt x="1587" y="614"/>
                    <a:pt x="1535" y="679"/>
                  </a:cubicBezTo>
                  <a:cubicBezTo>
                    <a:pt x="1500" y="721"/>
                    <a:pt x="1497" y="792"/>
                    <a:pt x="1500" y="829"/>
                  </a:cubicBezTo>
                  <a:cubicBezTo>
                    <a:pt x="1500" y="829"/>
                    <a:pt x="1584" y="708"/>
                    <a:pt x="1601" y="719"/>
                  </a:cubicBezTo>
                  <a:close/>
                  <a:moveTo>
                    <a:pt x="1148" y="129"/>
                  </a:moveTo>
                  <a:cubicBezTo>
                    <a:pt x="1168" y="134"/>
                    <a:pt x="1122" y="272"/>
                    <a:pt x="1122" y="272"/>
                  </a:cubicBezTo>
                  <a:cubicBezTo>
                    <a:pt x="1155" y="255"/>
                    <a:pt x="1215" y="220"/>
                    <a:pt x="1234" y="169"/>
                  </a:cubicBezTo>
                  <a:cubicBezTo>
                    <a:pt x="1260" y="90"/>
                    <a:pt x="1202" y="0"/>
                    <a:pt x="1202" y="0"/>
                  </a:cubicBezTo>
                  <a:cubicBezTo>
                    <a:pt x="1202" y="0"/>
                    <a:pt x="1099" y="36"/>
                    <a:pt x="1072" y="114"/>
                  </a:cubicBezTo>
                  <a:cubicBezTo>
                    <a:pt x="1054" y="165"/>
                    <a:pt x="1076" y="232"/>
                    <a:pt x="1091" y="266"/>
                  </a:cubicBezTo>
                  <a:cubicBezTo>
                    <a:pt x="1091" y="266"/>
                    <a:pt x="1129" y="125"/>
                    <a:pt x="1148" y="129"/>
                  </a:cubicBezTo>
                  <a:close/>
                  <a:moveTo>
                    <a:pt x="198" y="1005"/>
                  </a:moveTo>
                  <a:cubicBezTo>
                    <a:pt x="211" y="979"/>
                    <a:pt x="409" y="1054"/>
                    <a:pt x="409" y="1054"/>
                  </a:cubicBezTo>
                  <a:cubicBezTo>
                    <a:pt x="383" y="1008"/>
                    <a:pt x="320" y="924"/>
                    <a:pt x="245" y="902"/>
                  </a:cubicBezTo>
                  <a:cubicBezTo>
                    <a:pt x="130" y="866"/>
                    <a:pt x="0" y="956"/>
                    <a:pt x="0" y="956"/>
                  </a:cubicBezTo>
                  <a:cubicBezTo>
                    <a:pt x="0" y="956"/>
                    <a:pt x="58" y="1104"/>
                    <a:pt x="174" y="1139"/>
                  </a:cubicBezTo>
                  <a:cubicBezTo>
                    <a:pt x="249" y="1162"/>
                    <a:pt x="342" y="1120"/>
                    <a:pt x="390" y="1096"/>
                  </a:cubicBezTo>
                  <a:cubicBezTo>
                    <a:pt x="390" y="1096"/>
                    <a:pt x="187" y="1032"/>
                    <a:pt x="198" y="1005"/>
                  </a:cubicBezTo>
                  <a:close/>
                  <a:moveTo>
                    <a:pt x="225" y="845"/>
                  </a:moveTo>
                  <a:cubicBezTo>
                    <a:pt x="225" y="845"/>
                    <a:pt x="136" y="730"/>
                    <a:pt x="153" y="719"/>
                  </a:cubicBezTo>
                  <a:cubicBezTo>
                    <a:pt x="170" y="708"/>
                    <a:pt x="253" y="829"/>
                    <a:pt x="253" y="829"/>
                  </a:cubicBezTo>
                  <a:cubicBezTo>
                    <a:pt x="255" y="792"/>
                    <a:pt x="252" y="721"/>
                    <a:pt x="218" y="679"/>
                  </a:cubicBezTo>
                  <a:cubicBezTo>
                    <a:pt x="167" y="614"/>
                    <a:pt x="60" y="615"/>
                    <a:pt x="60" y="615"/>
                  </a:cubicBezTo>
                  <a:cubicBezTo>
                    <a:pt x="60" y="615"/>
                    <a:pt x="35" y="721"/>
                    <a:pt x="87" y="785"/>
                  </a:cubicBezTo>
                  <a:cubicBezTo>
                    <a:pt x="121" y="828"/>
                    <a:pt x="190" y="840"/>
                    <a:pt x="225" y="845"/>
                  </a:cubicBezTo>
                  <a:close/>
                  <a:moveTo>
                    <a:pt x="644" y="272"/>
                  </a:moveTo>
                  <a:cubicBezTo>
                    <a:pt x="644" y="272"/>
                    <a:pt x="598" y="134"/>
                    <a:pt x="618" y="129"/>
                  </a:cubicBezTo>
                  <a:cubicBezTo>
                    <a:pt x="637" y="125"/>
                    <a:pt x="676" y="266"/>
                    <a:pt x="676" y="266"/>
                  </a:cubicBezTo>
                  <a:cubicBezTo>
                    <a:pt x="691" y="232"/>
                    <a:pt x="712" y="165"/>
                    <a:pt x="695" y="114"/>
                  </a:cubicBezTo>
                  <a:cubicBezTo>
                    <a:pt x="668" y="36"/>
                    <a:pt x="566" y="0"/>
                    <a:pt x="566" y="0"/>
                  </a:cubicBezTo>
                  <a:cubicBezTo>
                    <a:pt x="566" y="0"/>
                    <a:pt x="506" y="90"/>
                    <a:pt x="533" y="169"/>
                  </a:cubicBezTo>
                  <a:cubicBezTo>
                    <a:pt x="550" y="220"/>
                    <a:pt x="612" y="255"/>
                    <a:pt x="644" y="272"/>
                  </a:cubicBezTo>
                  <a:close/>
                  <a:moveTo>
                    <a:pt x="477" y="1310"/>
                  </a:moveTo>
                  <a:cubicBezTo>
                    <a:pt x="471" y="1312"/>
                    <a:pt x="466" y="1312"/>
                    <a:pt x="460" y="1312"/>
                  </a:cubicBezTo>
                  <a:cubicBezTo>
                    <a:pt x="437" y="1312"/>
                    <a:pt x="416" y="1298"/>
                    <a:pt x="407" y="1276"/>
                  </a:cubicBezTo>
                  <a:cubicBezTo>
                    <a:pt x="406" y="1273"/>
                    <a:pt x="406" y="1273"/>
                    <a:pt x="406" y="1273"/>
                  </a:cubicBezTo>
                  <a:cubicBezTo>
                    <a:pt x="405" y="1269"/>
                    <a:pt x="405" y="1269"/>
                    <a:pt x="405" y="1269"/>
                  </a:cubicBezTo>
                  <a:cubicBezTo>
                    <a:pt x="400" y="1245"/>
                    <a:pt x="411" y="1220"/>
                    <a:pt x="433" y="1208"/>
                  </a:cubicBezTo>
                  <a:cubicBezTo>
                    <a:pt x="435" y="1206"/>
                    <a:pt x="435" y="1206"/>
                    <a:pt x="435" y="1206"/>
                  </a:cubicBezTo>
                  <a:cubicBezTo>
                    <a:pt x="567" y="1152"/>
                    <a:pt x="567" y="1152"/>
                    <a:pt x="567" y="1152"/>
                  </a:cubicBezTo>
                  <a:cubicBezTo>
                    <a:pt x="519" y="1137"/>
                    <a:pt x="458" y="1127"/>
                    <a:pt x="402" y="1148"/>
                  </a:cubicBezTo>
                  <a:cubicBezTo>
                    <a:pt x="290" y="1190"/>
                    <a:pt x="241" y="1340"/>
                    <a:pt x="241" y="1340"/>
                  </a:cubicBezTo>
                  <a:cubicBezTo>
                    <a:pt x="241" y="1340"/>
                    <a:pt x="376" y="1421"/>
                    <a:pt x="489" y="1378"/>
                  </a:cubicBezTo>
                  <a:cubicBezTo>
                    <a:pt x="546" y="1357"/>
                    <a:pt x="587" y="1308"/>
                    <a:pt x="613" y="1265"/>
                  </a:cubicBezTo>
                  <a:lnTo>
                    <a:pt x="477" y="1310"/>
                  </a:lnTo>
                  <a:close/>
                  <a:moveTo>
                    <a:pt x="1032" y="1175"/>
                  </a:moveTo>
                  <a:cubicBezTo>
                    <a:pt x="1314" y="1268"/>
                    <a:pt x="1314" y="1268"/>
                    <a:pt x="1314" y="1268"/>
                  </a:cubicBezTo>
                  <a:cubicBezTo>
                    <a:pt x="1319" y="1270"/>
                    <a:pt x="1326" y="1266"/>
                    <a:pt x="1329" y="1260"/>
                  </a:cubicBezTo>
                  <a:cubicBezTo>
                    <a:pt x="1330" y="1254"/>
                    <a:pt x="1327" y="1249"/>
                    <a:pt x="1322" y="1246"/>
                  </a:cubicBezTo>
                  <a:cubicBezTo>
                    <a:pt x="1059" y="1135"/>
                    <a:pt x="1059" y="1135"/>
                    <a:pt x="1059" y="1135"/>
                  </a:cubicBezTo>
                  <a:cubicBezTo>
                    <a:pt x="1251" y="849"/>
                    <a:pt x="1251" y="849"/>
                    <a:pt x="1251" y="849"/>
                  </a:cubicBezTo>
                  <a:cubicBezTo>
                    <a:pt x="1257" y="842"/>
                    <a:pt x="1255" y="830"/>
                    <a:pt x="1245" y="825"/>
                  </a:cubicBezTo>
                  <a:cubicBezTo>
                    <a:pt x="1238" y="819"/>
                    <a:pt x="1227" y="820"/>
                    <a:pt x="1221" y="828"/>
                  </a:cubicBezTo>
                  <a:cubicBezTo>
                    <a:pt x="928" y="1198"/>
                    <a:pt x="928" y="1198"/>
                    <a:pt x="928" y="1198"/>
                  </a:cubicBezTo>
                  <a:cubicBezTo>
                    <a:pt x="917" y="922"/>
                    <a:pt x="917" y="922"/>
                    <a:pt x="917" y="922"/>
                  </a:cubicBezTo>
                  <a:cubicBezTo>
                    <a:pt x="1270" y="400"/>
                    <a:pt x="1270" y="400"/>
                    <a:pt x="1270" y="400"/>
                  </a:cubicBezTo>
                  <a:cubicBezTo>
                    <a:pt x="1273" y="395"/>
                    <a:pt x="1273" y="388"/>
                    <a:pt x="1268" y="385"/>
                  </a:cubicBezTo>
                  <a:cubicBezTo>
                    <a:pt x="1263" y="380"/>
                    <a:pt x="1256" y="381"/>
                    <a:pt x="1252" y="386"/>
                  </a:cubicBezTo>
                  <a:cubicBezTo>
                    <a:pt x="913" y="812"/>
                    <a:pt x="913" y="812"/>
                    <a:pt x="913" y="812"/>
                  </a:cubicBezTo>
                  <a:cubicBezTo>
                    <a:pt x="899" y="468"/>
                    <a:pt x="899" y="468"/>
                    <a:pt x="899" y="468"/>
                  </a:cubicBezTo>
                  <a:cubicBezTo>
                    <a:pt x="898" y="458"/>
                    <a:pt x="891" y="450"/>
                    <a:pt x="881" y="450"/>
                  </a:cubicBezTo>
                  <a:cubicBezTo>
                    <a:pt x="871" y="449"/>
                    <a:pt x="863" y="457"/>
                    <a:pt x="862" y="468"/>
                  </a:cubicBezTo>
                  <a:cubicBezTo>
                    <a:pt x="849" y="810"/>
                    <a:pt x="849" y="810"/>
                    <a:pt x="849" y="810"/>
                  </a:cubicBezTo>
                  <a:cubicBezTo>
                    <a:pt x="511" y="386"/>
                    <a:pt x="511" y="386"/>
                    <a:pt x="511" y="386"/>
                  </a:cubicBezTo>
                  <a:cubicBezTo>
                    <a:pt x="507" y="381"/>
                    <a:pt x="500" y="380"/>
                    <a:pt x="495" y="385"/>
                  </a:cubicBezTo>
                  <a:cubicBezTo>
                    <a:pt x="490" y="388"/>
                    <a:pt x="490" y="395"/>
                    <a:pt x="493" y="400"/>
                  </a:cubicBezTo>
                  <a:cubicBezTo>
                    <a:pt x="844" y="920"/>
                    <a:pt x="844" y="920"/>
                    <a:pt x="844" y="920"/>
                  </a:cubicBezTo>
                  <a:cubicBezTo>
                    <a:pt x="834" y="1192"/>
                    <a:pt x="834" y="1192"/>
                    <a:pt x="834" y="1192"/>
                  </a:cubicBezTo>
                  <a:cubicBezTo>
                    <a:pt x="545" y="828"/>
                    <a:pt x="545" y="828"/>
                    <a:pt x="545" y="828"/>
                  </a:cubicBezTo>
                  <a:cubicBezTo>
                    <a:pt x="539" y="820"/>
                    <a:pt x="529" y="819"/>
                    <a:pt x="521" y="825"/>
                  </a:cubicBezTo>
                  <a:cubicBezTo>
                    <a:pt x="512" y="830"/>
                    <a:pt x="510" y="842"/>
                    <a:pt x="515" y="849"/>
                  </a:cubicBezTo>
                  <a:cubicBezTo>
                    <a:pt x="710" y="1140"/>
                    <a:pt x="710" y="1140"/>
                    <a:pt x="710" y="1140"/>
                  </a:cubicBezTo>
                  <a:cubicBezTo>
                    <a:pt x="455" y="1246"/>
                    <a:pt x="455" y="1246"/>
                    <a:pt x="455" y="1246"/>
                  </a:cubicBezTo>
                  <a:cubicBezTo>
                    <a:pt x="450" y="1249"/>
                    <a:pt x="447" y="1254"/>
                    <a:pt x="448" y="1260"/>
                  </a:cubicBezTo>
                  <a:cubicBezTo>
                    <a:pt x="451" y="1266"/>
                    <a:pt x="457" y="1270"/>
                    <a:pt x="463" y="1268"/>
                  </a:cubicBezTo>
                  <a:cubicBezTo>
                    <a:pt x="736" y="1178"/>
                    <a:pt x="736" y="1178"/>
                    <a:pt x="736" y="1178"/>
                  </a:cubicBezTo>
                  <a:cubicBezTo>
                    <a:pt x="829" y="1316"/>
                    <a:pt x="829" y="1316"/>
                    <a:pt x="829" y="1316"/>
                  </a:cubicBezTo>
                  <a:cubicBezTo>
                    <a:pt x="823" y="1486"/>
                    <a:pt x="823" y="1486"/>
                    <a:pt x="823" y="1486"/>
                  </a:cubicBezTo>
                  <a:cubicBezTo>
                    <a:pt x="820" y="1538"/>
                    <a:pt x="820" y="1538"/>
                    <a:pt x="820" y="1538"/>
                  </a:cubicBezTo>
                  <a:cubicBezTo>
                    <a:pt x="820" y="1538"/>
                    <a:pt x="820" y="1538"/>
                    <a:pt x="820" y="1538"/>
                  </a:cubicBezTo>
                  <a:cubicBezTo>
                    <a:pt x="820" y="1540"/>
                    <a:pt x="820" y="1542"/>
                    <a:pt x="820" y="1543"/>
                  </a:cubicBezTo>
                  <a:cubicBezTo>
                    <a:pt x="822" y="1577"/>
                    <a:pt x="850" y="1602"/>
                    <a:pt x="883" y="1602"/>
                  </a:cubicBezTo>
                  <a:cubicBezTo>
                    <a:pt x="917" y="1600"/>
                    <a:pt x="943" y="1572"/>
                    <a:pt x="942" y="1538"/>
                  </a:cubicBezTo>
                  <a:cubicBezTo>
                    <a:pt x="933" y="1322"/>
                    <a:pt x="933" y="1322"/>
                    <a:pt x="933" y="1322"/>
                  </a:cubicBezTo>
                  <a:cubicBezTo>
                    <a:pt x="1032" y="1175"/>
                    <a:pt x="1032" y="1175"/>
                    <a:pt x="1032" y="1175"/>
                  </a:cubicBezTo>
                  <a:cubicBezTo>
                    <a:pt x="1032" y="1175"/>
                    <a:pt x="1032" y="1175"/>
                    <a:pt x="1032" y="1175"/>
                  </a:cubicBezTo>
                  <a:close/>
                  <a:moveTo>
                    <a:pt x="583" y="1029"/>
                  </a:moveTo>
                  <a:cubicBezTo>
                    <a:pt x="479" y="874"/>
                    <a:pt x="479" y="874"/>
                    <a:pt x="479" y="874"/>
                  </a:cubicBezTo>
                  <a:cubicBezTo>
                    <a:pt x="470" y="861"/>
                    <a:pt x="466" y="844"/>
                    <a:pt x="469" y="828"/>
                  </a:cubicBezTo>
                  <a:cubicBezTo>
                    <a:pt x="473" y="812"/>
                    <a:pt x="482" y="797"/>
                    <a:pt x="497" y="788"/>
                  </a:cubicBezTo>
                  <a:cubicBezTo>
                    <a:pt x="507" y="781"/>
                    <a:pt x="519" y="777"/>
                    <a:pt x="531" y="777"/>
                  </a:cubicBezTo>
                  <a:cubicBezTo>
                    <a:pt x="550" y="777"/>
                    <a:pt x="568" y="786"/>
                    <a:pt x="580" y="801"/>
                  </a:cubicBezTo>
                  <a:cubicBezTo>
                    <a:pt x="700" y="952"/>
                    <a:pt x="700" y="952"/>
                    <a:pt x="700" y="952"/>
                  </a:cubicBezTo>
                  <a:cubicBezTo>
                    <a:pt x="704" y="884"/>
                    <a:pt x="698" y="792"/>
                    <a:pt x="647" y="722"/>
                  </a:cubicBezTo>
                  <a:cubicBezTo>
                    <a:pt x="554" y="596"/>
                    <a:pt x="350" y="588"/>
                    <a:pt x="350" y="588"/>
                  </a:cubicBezTo>
                  <a:cubicBezTo>
                    <a:pt x="350" y="588"/>
                    <a:pt x="295" y="785"/>
                    <a:pt x="388" y="911"/>
                  </a:cubicBezTo>
                  <a:cubicBezTo>
                    <a:pt x="437" y="978"/>
                    <a:pt x="518" y="1012"/>
                    <a:pt x="583" y="1029"/>
                  </a:cubicBezTo>
                  <a:close/>
                  <a:moveTo>
                    <a:pt x="536" y="542"/>
                  </a:moveTo>
                  <a:cubicBezTo>
                    <a:pt x="456" y="424"/>
                    <a:pt x="456" y="424"/>
                    <a:pt x="456" y="424"/>
                  </a:cubicBezTo>
                  <a:cubicBezTo>
                    <a:pt x="456" y="423"/>
                    <a:pt x="456" y="423"/>
                    <a:pt x="456" y="423"/>
                  </a:cubicBezTo>
                  <a:cubicBezTo>
                    <a:pt x="441" y="399"/>
                    <a:pt x="445" y="369"/>
                    <a:pt x="467" y="351"/>
                  </a:cubicBezTo>
                  <a:cubicBezTo>
                    <a:pt x="476" y="342"/>
                    <a:pt x="489" y="338"/>
                    <a:pt x="503" y="338"/>
                  </a:cubicBezTo>
                  <a:cubicBezTo>
                    <a:pt x="519" y="338"/>
                    <a:pt x="535" y="345"/>
                    <a:pt x="546" y="359"/>
                  </a:cubicBezTo>
                  <a:cubicBezTo>
                    <a:pt x="634" y="469"/>
                    <a:pt x="634" y="469"/>
                    <a:pt x="634" y="469"/>
                  </a:cubicBezTo>
                  <a:cubicBezTo>
                    <a:pt x="635" y="419"/>
                    <a:pt x="628" y="357"/>
                    <a:pt x="592" y="308"/>
                  </a:cubicBezTo>
                  <a:cubicBezTo>
                    <a:pt x="520" y="211"/>
                    <a:pt x="363" y="206"/>
                    <a:pt x="363" y="206"/>
                  </a:cubicBezTo>
                  <a:cubicBezTo>
                    <a:pt x="363" y="206"/>
                    <a:pt x="321" y="357"/>
                    <a:pt x="394" y="454"/>
                  </a:cubicBezTo>
                  <a:cubicBezTo>
                    <a:pt x="429" y="504"/>
                    <a:pt x="488" y="529"/>
                    <a:pt x="536" y="542"/>
                  </a:cubicBezTo>
                  <a:close/>
                  <a:moveTo>
                    <a:pt x="1218" y="359"/>
                  </a:moveTo>
                  <a:cubicBezTo>
                    <a:pt x="1228" y="345"/>
                    <a:pt x="1244" y="338"/>
                    <a:pt x="1261" y="338"/>
                  </a:cubicBezTo>
                  <a:cubicBezTo>
                    <a:pt x="1274" y="338"/>
                    <a:pt x="1287" y="342"/>
                    <a:pt x="1297" y="351"/>
                  </a:cubicBezTo>
                  <a:cubicBezTo>
                    <a:pt x="1318" y="369"/>
                    <a:pt x="1323" y="399"/>
                    <a:pt x="1308" y="423"/>
                  </a:cubicBezTo>
                  <a:cubicBezTo>
                    <a:pt x="1307" y="424"/>
                    <a:pt x="1307" y="424"/>
                    <a:pt x="1307" y="424"/>
                  </a:cubicBezTo>
                  <a:cubicBezTo>
                    <a:pt x="1227" y="542"/>
                    <a:pt x="1227" y="542"/>
                    <a:pt x="1227" y="542"/>
                  </a:cubicBezTo>
                  <a:cubicBezTo>
                    <a:pt x="1276" y="529"/>
                    <a:pt x="1334" y="504"/>
                    <a:pt x="1370" y="454"/>
                  </a:cubicBezTo>
                  <a:cubicBezTo>
                    <a:pt x="1442" y="357"/>
                    <a:pt x="1401" y="206"/>
                    <a:pt x="1401" y="206"/>
                  </a:cubicBezTo>
                  <a:cubicBezTo>
                    <a:pt x="1401" y="206"/>
                    <a:pt x="1243" y="211"/>
                    <a:pt x="1171" y="308"/>
                  </a:cubicBezTo>
                  <a:cubicBezTo>
                    <a:pt x="1135" y="357"/>
                    <a:pt x="1128" y="419"/>
                    <a:pt x="1129" y="470"/>
                  </a:cubicBezTo>
                  <a:lnTo>
                    <a:pt x="1218" y="359"/>
                  </a:lnTo>
                  <a:close/>
                  <a:moveTo>
                    <a:pt x="819" y="465"/>
                  </a:moveTo>
                  <a:cubicBezTo>
                    <a:pt x="820" y="432"/>
                    <a:pt x="847" y="406"/>
                    <a:pt x="879" y="406"/>
                  </a:cubicBezTo>
                  <a:cubicBezTo>
                    <a:pt x="881" y="406"/>
                    <a:pt x="882" y="406"/>
                    <a:pt x="884" y="406"/>
                  </a:cubicBezTo>
                  <a:cubicBezTo>
                    <a:pt x="914" y="408"/>
                    <a:pt x="939" y="431"/>
                    <a:pt x="943" y="462"/>
                  </a:cubicBezTo>
                  <a:cubicBezTo>
                    <a:pt x="943" y="464"/>
                    <a:pt x="943" y="464"/>
                    <a:pt x="943" y="464"/>
                  </a:cubicBezTo>
                  <a:cubicBezTo>
                    <a:pt x="951" y="656"/>
                    <a:pt x="951" y="656"/>
                    <a:pt x="951" y="656"/>
                  </a:cubicBezTo>
                  <a:cubicBezTo>
                    <a:pt x="998" y="600"/>
                    <a:pt x="1053" y="516"/>
                    <a:pt x="1053" y="422"/>
                  </a:cubicBezTo>
                  <a:cubicBezTo>
                    <a:pt x="1053" y="255"/>
                    <a:pt x="881" y="119"/>
                    <a:pt x="881" y="119"/>
                  </a:cubicBezTo>
                  <a:cubicBezTo>
                    <a:pt x="881" y="119"/>
                    <a:pt x="710" y="255"/>
                    <a:pt x="710" y="422"/>
                  </a:cubicBezTo>
                  <a:cubicBezTo>
                    <a:pt x="710" y="516"/>
                    <a:pt x="764" y="599"/>
                    <a:pt x="811" y="655"/>
                  </a:cubicBezTo>
                  <a:lnTo>
                    <a:pt x="819" y="465"/>
                  </a:lnTo>
                  <a:close/>
                  <a:moveTo>
                    <a:pt x="1419" y="588"/>
                  </a:moveTo>
                  <a:cubicBezTo>
                    <a:pt x="1419" y="588"/>
                    <a:pt x="1214" y="596"/>
                    <a:pt x="1121" y="722"/>
                  </a:cubicBezTo>
                  <a:cubicBezTo>
                    <a:pt x="1071" y="792"/>
                    <a:pt x="1064" y="882"/>
                    <a:pt x="1068" y="950"/>
                  </a:cubicBezTo>
                  <a:cubicBezTo>
                    <a:pt x="1187" y="801"/>
                    <a:pt x="1187" y="801"/>
                    <a:pt x="1187" y="801"/>
                  </a:cubicBezTo>
                  <a:cubicBezTo>
                    <a:pt x="1198" y="786"/>
                    <a:pt x="1216" y="777"/>
                    <a:pt x="1235" y="777"/>
                  </a:cubicBezTo>
                  <a:cubicBezTo>
                    <a:pt x="1247" y="777"/>
                    <a:pt x="1260" y="781"/>
                    <a:pt x="1270" y="788"/>
                  </a:cubicBezTo>
                  <a:cubicBezTo>
                    <a:pt x="1284" y="797"/>
                    <a:pt x="1294" y="812"/>
                    <a:pt x="1297" y="828"/>
                  </a:cubicBezTo>
                  <a:cubicBezTo>
                    <a:pt x="1300" y="844"/>
                    <a:pt x="1296" y="861"/>
                    <a:pt x="1287" y="874"/>
                  </a:cubicBezTo>
                  <a:cubicBezTo>
                    <a:pt x="1182" y="1030"/>
                    <a:pt x="1182" y="1030"/>
                    <a:pt x="1182" y="1030"/>
                  </a:cubicBezTo>
                  <a:cubicBezTo>
                    <a:pt x="1248" y="1013"/>
                    <a:pt x="1331" y="979"/>
                    <a:pt x="1381" y="911"/>
                  </a:cubicBezTo>
                  <a:cubicBezTo>
                    <a:pt x="1474" y="785"/>
                    <a:pt x="1419" y="588"/>
                    <a:pt x="1419" y="588"/>
                  </a:cubicBezTo>
                  <a:close/>
                  <a:moveTo>
                    <a:pt x="1376" y="1148"/>
                  </a:moveTo>
                  <a:cubicBezTo>
                    <a:pt x="1320" y="1127"/>
                    <a:pt x="1259" y="1137"/>
                    <a:pt x="1211" y="1152"/>
                  </a:cubicBezTo>
                  <a:cubicBezTo>
                    <a:pt x="1340" y="1206"/>
                    <a:pt x="1340" y="1206"/>
                    <a:pt x="1340" y="1206"/>
                  </a:cubicBezTo>
                  <a:cubicBezTo>
                    <a:pt x="1364" y="1217"/>
                    <a:pt x="1377" y="1243"/>
                    <a:pt x="1372" y="1269"/>
                  </a:cubicBezTo>
                  <a:cubicBezTo>
                    <a:pt x="1371" y="1273"/>
                    <a:pt x="1371" y="1273"/>
                    <a:pt x="1371" y="1273"/>
                  </a:cubicBezTo>
                  <a:cubicBezTo>
                    <a:pt x="1369" y="1276"/>
                    <a:pt x="1369" y="1276"/>
                    <a:pt x="1369" y="1276"/>
                  </a:cubicBezTo>
                  <a:cubicBezTo>
                    <a:pt x="1361" y="1298"/>
                    <a:pt x="1340" y="1312"/>
                    <a:pt x="1317" y="1312"/>
                  </a:cubicBezTo>
                  <a:cubicBezTo>
                    <a:pt x="1311" y="1312"/>
                    <a:pt x="1305" y="1312"/>
                    <a:pt x="1300" y="1310"/>
                  </a:cubicBezTo>
                  <a:cubicBezTo>
                    <a:pt x="1164" y="1265"/>
                    <a:pt x="1164" y="1265"/>
                    <a:pt x="1164" y="1265"/>
                  </a:cubicBezTo>
                  <a:cubicBezTo>
                    <a:pt x="1191" y="1308"/>
                    <a:pt x="1232" y="1357"/>
                    <a:pt x="1290" y="1378"/>
                  </a:cubicBezTo>
                  <a:cubicBezTo>
                    <a:pt x="1404" y="1421"/>
                    <a:pt x="1539" y="1340"/>
                    <a:pt x="1539" y="1340"/>
                  </a:cubicBezTo>
                  <a:cubicBezTo>
                    <a:pt x="1539" y="1340"/>
                    <a:pt x="1491" y="1190"/>
                    <a:pt x="1376" y="1148"/>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6">
              <a:extLst>
                <a:ext uri="{FF2B5EF4-FFF2-40B4-BE49-F238E27FC236}">
                  <a16:creationId xmlns:a16="http://schemas.microsoft.com/office/drawing/2014/main" id="{AF454BD7-A9E1-0674-3286-23802297B114}"/>
                </a:ext>
              </a:extLst>
            </p:cNvPr>
            <p:cNvSpPr>
              <a:spLocks noEditPoints="1"/>
            </p:cNvSpPr>
            <p:nvPr/>
          </p:nvSpPr>
          <p:spPr bwMode="auto">
            <a:xfrm>
              <a:off x="11834647" y="3050283"/>
              <a:ext cx="466622" cy="477679"/>
            </a:xfrm>
            <a:custGeom>
              <a:avLst/>
              <a:gdLst>
                <a:gd name="T0" fmla="*/ 0 w 1780"/>
                <a:gd name="T1" fmla="*/ 1199 h 1820"/>
                <a:gd name="T2" fmla="*/ 79 w 1780"/>
                <a:gd name="T3" fmla="*/ 888 h 1820"/>
                <a:gd name="T4" fmla="*/ 42 w 1780"/>
                <a:gd name="T5" fmla="*/ 924 h 1820"/>
                <a:gd name="T6" fmla="*/ 128 w 1780"/>
                <a:gd name="T7" fmla="*/ 452 h 1820"/>
                <a:gd name="T8" fmla="*/ 164 w 1780"/>
                <a:gd name="T9" fmla="*/ 488 h 1820"/>
                <a:gd name="T10" fmla="*/ 223 w 1780"/>
                <a:gd name="T11" fmla="*/ 452 h 1820"/>
                <a:gd name="T12" fmla="*/ 407 w 1780"/>
                <a:gd name="T13" fmla="*/ 165 h 1820"/>
                <a:gd name="T14" fmla="*/ 370 w 1780"/>
                <a:gd name="T15" fmla="*/ 201 h 1820"/>
                <a:gd name="T16" fmla="*/ 208 w 1780"/>
                <a:gd name="T17" fmla="*/ 531 h 1820"/>
                <a:gd name="T18" fmla="*/ 244 w 1780"/>
                <a:gd name="T19" fmla="*/ 567 h 1820"/>
                <a:gd name="T20" fmla="*/ 10 w 1780"/>
                <a:gd name="T21" fmla="*/ 1335 h 1820"/>
                <a:gd name="T22" fmla="*/ 190 w 1780"/>
                <a:gd name="T23" fmla="*/ 1274 h 1820"/>
                <a:gd name="T24" fmla="*/ 154 w 1780"/>
                <a:gd name="T25" fmla="*/ 1310 h 1820"/>
                <a:gd name="T26" fmla="*/ 189 w 1780"/>
                <a:gd name="T27" fmla="*/ 337 h 1820"/>
                <a:gd name="T28" fmla="*/ 225 w 1780"/>
                <a:gd name="T29" fmla="*/ 373 h 1820"/>
                <a:gd name="T30" fmla="*/ 436 w 1780"/>
                <a:gd name="T31" fmla="*/ 189 h 1820"/>
                <a:gd name="T32" fmla="*/ 748 w 1780"/>
                <a:gd name="T33" fmla="*/ 36 h 1820"/>
                <a:gd name="T34" fmla="*/ 711 w 1780"/>
                <a:gd name="T35" fmla="*/ 72 h 1820"/>
                <a:gd name="T36" fmla="*/ 773 w 1780"/>
                <a:gd name="T37" fmla="*/ 108 h 1820"/>
                <a:gd name="T38" fmla="*/ 810 w 1780"/>
                <a:gd name="T39" fmla="*/ 144 h 1820"/>
                <a:gd name="T40" fmla="*/ 783 w 1780"/>
                <a:gd name="T41" fmla="*/ 53 h 1820"/>
                <a:gd name="T42" fmla="*/ 1708 w 1780"/>
                <a:gd name="T43" fmla="*/ 1199 h 1820"/>
                <a:gd name="T44" fmla="*/ 1745 w 1780"/>
                <a:gd name="T45" fmla="*/ 1163 h 1820"/>
                <a:gd name="T46" fmla="*/ 1738 w 1780"/>
                <a:gd name="T47" fmla="*/ 924 h 1820"/>
                <a:gd name="T48" fmla="*/ 1701 w 1780"/>
                <a:gd name="T49" fmla="*/ 888 h 1820"/>
                <a:gd name="T50" fmla="*/ 1688 w 1780"/>
                <a:gd name="T51" fmla="*/ 488 h 1820"/>
                <a:gd name="T52" fmla="*/ 1485 w 1780"/>
                <a:gd name="T53" fmla="*/ 452 h 1820"/>
                <a:gd name="T54" fmla="*/ 1521 w 1780"/>
                <a:gd name="T55" fmla="*/ 416 h 1820"/>
                <a:gd name="T56" fmla="*/ 1410 w 1780"/>
                <a:gd name="T57" fmla="*/ 201 h 1820"/>
                <a:gd name="T58" fmla="*/ 1373 w 1780"/>
                <a:gd name="T59" fmla="*/ 165 h 1820"/>
                <a:gd name="T60" fmla="*/ 1608 w 1780"/>
                <a:gd name="T61" fmla="*/ 567 h 1820"/>
                <a:gd name="T62" fmla="*/ 1698 w 1780"/>
                <a:gd name="T63" fmla="*/ 1335 h 1820"/>
                <a:gd name="T64" fmla="*/ 1734 w 1780"/>
                <a:gd name="T65" fmla="*/ 1299 h 1820"/>
                <a:gd name="T66" fmla="*/ 1626 w 1780"/>
                <a:gd name="T67" fmla="*/ 1310 h 1820"/>
                <a:gd name="T68" fmla="*/ 1590 w 1780"/>
                <a:gd name="T69" fmla="*/ 1274 h 1820"/>
                <a:gd name="T70" fmla="*/ 1627 w 1780"/>
                <a:gd name="T71" fmla="*/ 373 h 1820"/>
                <a:gd name="T72" fmla="*/ 1272 w 1780"/>
                <a:gd name="T73" fmla="*/ 189 h 1820"/>
                <a:gd name="T74" fmla="*/ 1309 w 1780"/>
                <a:gd name="T75" fmla="*/ 153 h 1820"/>
                <a:gd name="T76" fmla="*/ 1069 w 1780"/>
                <a:gd name="T77" fmla="*/ 72 h 1820"/>
                <a:gd name="T78" fmla="*/ 1032 w 1780"/>
                <a:gd name="T79" fmla="*/ 36 h 1820"/>
                <a:gd name="T80" fmla="*/ 1042 w 1780"/>
                <a:gd name="T81" fmla="*/ 144 h 1820"/>
                <a:gd name="T82" fmla="*/ 925 w 1780"/>
                <a:gd name="T83" fmla="*/ 53 h 1820"/>
                <a:gd name="T84" fmla="*/ 961 w 1780"/>
                <a:gd name="T85" fmla="*/ 17 h 1820"/>
                <a:gd name="T86" fmla="*/ 405 w 1780"/>
                <a:gd name="T87" fmla="*/ 1656 h 1820"/>
                <a:gd name="T88" fmla="*/ 158 w 1780"/>
                <a:gd name="T89" fmla="*/ 1820 h 1820"/>
                <a:gd name="T90" fmla="*/ 789 w 1780"/>
                <a:gd name="T91" fmla="*/ 1469 h 1820"/>
                <a:gd name="T92" fmla="*/ 989 w 1780"/>
                <a:gd name="T93" fmla="*/ 1469 h 1820"/>
                <a:gd name="T94" fmla="*/ 1622 w 1780"/>
                <a:gd name="T95" fmla="*/ 1820 h 1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0" h="1820">
                  <a:moveTo>
                    <a:pt x="72" y="1199"/>
                  </a:moveTo>
                  <a:cubicBezTo>
                    <a:pt x="72" y="1218"/>
                    <a:pt x="56" y="1235"/>
                    <a:pt x="35" y="1235"/>
                  </a:cubicBezTo>
                  <a:cubicBezTo>
                    <a:pt x="16" y="1235"/>
                    <a:pt x="0" y="1218"/>
                    <a:pt x="0" y="1199"/>
                  </a:cubicBezTo>
                  <a:cubicBezTo>
                    <a:pt x="0" y="1179"/>
                    <a:pt x="16" y="1163"/>
                    <a:pt x="35" y="1163"/>
                  </a:cubicBezTo>
                  <a:cubicBezTo>
                    <a:pt x="56" y="1163"/>
                    <a:pt x="72" y="1179"/>
                    <a:pt x="72" y="1199"/>
                  </a:cubicBezTo>
                  <a:close/>
                  <a:moveTo>
                    <a:pt x="79" y="888"/>
                  </a:moveTo>
                  <a:cubicBezTo>
                    <a:pt x="79" y="868"/>
                    <a:pt x="63" y="852"/>
                    <a:pt x="42" y="852"/>
                  </a:cubicBezTo>
                  <a:cubicBezTo>
                    <a:pt x="23" y="852"/>
                    <a:pt x="7" y="868"/>
                    <a:pt x="7" y="888"/>
                  </a:cubicBezTo>
                  <a:cubicBezTo>
                    <a:pt x="7" y="907"/>
                    <a:pt x="23" y="924"/>
                    <a:pt x="42" y="924"/>
                  </a:cubicBezTo>
                  <a:cubicBezTo>
                    <a:pt x="63" y="924"/>
                    <a:pt x="79" y="907"/>
                    <a:pt x="79" y="888"/>
                  </a:cubicBezTo>
                  <a:close/>
                  <a:moveTo>
                    <a:pt x="164" y="488"/>
                  </a:moveTo>
                  <a:cubicBezTo>
                    <a:pt x="164" y="468"/>
                    <a:pt x="148" y="452"/>
                    <a:pt x="128" y="452"/>
                  </a:cubicBezTo>
                  <a:cubicBezTo>
                    <a:pt x="109" y="452"/>
                    <a:pt x="92" y="468"/>
                    <a:pt x="92" y="488"/>
                  </a:cubicBezTo>
                  <a:cubicBezTo>
                    <a:pt x="92" y="507"/>
                    <a:pt x="109" y="524"/>
                    <a:pt x="128" y="524"/>
                  </a:cubicBezTo>
                  <a:cubicBezTo>
                    <a:pt x="148" y="524"/>
                    <a:pt x="164" y="507"/>
                    <a:pt x="164" y="488"/>
                  </a:cubicBezTo>
                  <a:close/>
                  <a:moveTo>
                    <a:pt x="295" y="452"/>
                  </a:moveTo>
                  <a:cubicBezTo>
                    <a:pt x="295" y="432"/>
                    <a:pt x="279" y="416"/>
                    <a:pt x="259" y="416"/>
                  </a:cubicBezTo>
                  <a:cubicBezTo>
                    <a:pt x="239" y="416"/>
                    <a:pt x="223" y="432"/>
                    <a:pt x="223" y="452"/>
                  </a:cubicBezTo>
                  <a:cubicBezTo>
                    <a:pt x="223" y="471"/>
                    <a:pt x="239" y="488"/>
                    <a:pt x="259" y="488"/>
                  </a:cubicBezTo>
                  <a:cubicBezTo>
                    <a:pt x="279" y="488"/>
                    <a:pt x="295" y="471"/>
                    <a:pt x="295" y="452"/>
                  </a:cubicBezTo>
                  <a:close/>
                  <a:moveTo>
                    <a:pt x="407" y="165"/>
                  </a:moveTo>
                  <a:cubicBezTo>
                    <a:pt x="407" y="145"/>
                    <a:pt x="391" y="129"/>
                    <a:pt x="370" y="129"/>
                  </a:cubicBezTo>
                  <a:cubicBezTo>
                    <a:pt x="351" y="129"/>
                    <a:pt x="335" y="145"/>
                    <a:pt x="335" y="165"/>
                  </a:cubicBezTo>
                  <a:cubicBezTo>
                    <a:pt x="335" y="184"/>
                    <a:pt x="351" y="201"/>
                    <a:pt x="370" y="201"/>
                  </a:cubicBezTo>
                  <a:cubicBezTo>
                    <a:pt x="391" y="201"/>
                    <a:pt x="407" y="184"/>
                    <a:pt x="407" y="165"/>
                  </a:cubicBezTo>
                  <a:close/>
                  <a:moveTo>
                    <a:pt x="244" y="567"/>
                  </a:moveTo>
                  <a:cubicBezTo>
                    <a:pt x="244" y="547"/>
                    <a:pt x="228" y="531"/>
                    <a:pt x="208" y="531"/>
                  </a:cubicBezTo>
                  <a:cubicBezTo>
                    <a:pt x="189" y="531"/>
                    <a:pt x="172" y="547"/>
                    <a:pt x="172" y="567"/>
                  </a:cubicBezTo>
                  <a:cubicBezTo>
                    <a:pt x="172" y="586"/>
                    <a:pt x="189" y="603"/>
                    <a:pt x="208" y="603"/>
                  </a:cubicBezTo>
                  <a:cubicBezTo>
                    <a:pt x="228" y="603"/>
                    <a:pt x="244" y="586"/>
                    <a:pt x="244" y="567"/>
                  </a:cubicBezTo>
                  <a:close/>
                  <a:moveTo>
                    <a:pt x="82" y="1335"/>
                  </a:moveTo>
                  <a:cubicBezTo>
                    <a:pt x="82" y="1314"/>
                    <a:pt x="66" y="1299"/>
                    <a:pt x="46" y="1299"/>
                  </a:cubicBezTo>
                  <a:cubicBezTo>
                    <a:pt x="27" y="1299"/>
                    <a:pt x="10" y="1314"/>
                    <a:pt x="10" y="1335"/>
                  </a:cubicBezTo>
                  <a:cubicBezTo>
                    <a:pt x="10" y="1354"/>
                    <a:pt x="27" y="1371"/>
                    <a:pt x="46" y="1371"/>
                  </a:cubicBezTo>
                  <a:cubicBezTo>
                    <a:pt x="66" y="1371"/>
                    <a:pt x="82" y="1354"/>
                    <a:pt x="82" y="1335"/>
                  </a:cubicBezTo>
                  <a:close/>
                  <a:moveTo>
                    <a:pt x="190" y="1274"/>
                  </a:moveTo>
                  <a:cubicBezTo>
                    <a:pt x="190" y="1253"/>
                    <a:pt x="174" y="1238"/>
                    <a:pt x="154" y="1238"/>
                  </a:cubicBezTo>
                  <a:cubicBezTo>
                    <a:pt x="135" y="1238"/>
                    <a:pt x="118" y="1253"/>
                    <a:pt x="118" y="1274"/>
                  </a:cubicBezTo>
                  <a:cubicBezTo>
                    <a:pt x="118" y="1293"/>
                    <a:pt x="135" y="1310"/>
                    <a:pt x="154" y="1310"/>
                  </a:cubicBezTo>
                  <a:cubicBezTo>
                    <a:pt x="174" y="1310"/>
                    <a:pt x="190" y="1293"/>
                    <a:pt x="190" y="1274"/>
                  </a:cubicBezTo>
                  <a:close/>
                  <a:moveTo>
                    <a:pt x="225" y="373"/>
                  </a:moveTo>
                  <a:cubicBezTo>
                    <a:pt x="225" y="353"/>
                    <a:pt x="209" y="337"/>
                    <a:pt x="189" y="337"/>
                  </a:cubicBezTo>
                  <a:cubicBezTo>
                    <a:pt x="170" y="337"/>
                    <a:pt x="153" y="353"/>
                    <a:pt x="153" y="373"/>
                  </a:cubicBezTo>
                  <a:cubicBezTo>
                    <a:pt x="153" y="392"/>
                    <a:pt x="170" y="409"/>
                    <a:pt x="189" y="409"/>
                  </a:cubicBezTo>
                  <a:cubicBezTo>
                    <a:pt x="209" y="409"/>
                    <a:pt x="225" y="392"/>
                    <a:pt x="225" y="373"/>
                  </a:cubicBezTo>
                  <a:close/>
                  <a:moveTo>
                    <a:pt x="508" y="189"/>
                  </a:moveTo>
                  <a:cubicBezTo>
                    <a:pt x="508" y="169"/>
                    <a:pt x="492" y="153"/>
                    <a:pt x="471" y="153"/>
                  </a:cubicBezTo>
                  <a:cubicBezTo>
                    <a:pt x="452" y="153"/>
                    <a:pt x="436" y="169"/>
                    <a:pt x="436" y="189"/>
                  </a:cubicBezTo>
                  <a:cubicBezTo>
                    <a:pt x="436" y="209"/>
                    <a:pt x="452" y="225"/>
                    <a:pt x="471" y="225"/>
                  </a:cubicBezTo>
                  <a:cubicBezTo>
                    <a:pt x="492" y="225"/>
                    <a:pt x="508" y="209"/>
                    <a:pt x="508" y="189"/>
                  </a:cubicBezTo>
                  <a:close/>
                  <a:moveTo>
                    <a:pt x="748" y="36"/>
                  </a:moveTo>
                  <a:cubicBezTo>
                    <a:pt x="748" y="16"/>
                    <a:pt x="732" y="0"/>
                    <a:pt x="711" y="0"/>
                  </a:cubicBezTo>
                  <a:cubicBezTo>
                    <a:pt x="692" y="0"/>
                    <a:pt x="676" y="16"/>
                    <a:pt x="676" y="36"/>
                  </a:cubicBezTo>
                  <a:cubicBezTo>
                    <a:pt x="676" y="55"/>
                    <a:pt x="692" y="72"/>
                    <a:pt x="711" y="72"/>
                  </a:cubicBezTo>
                  <a:cubicBezTo>
                    <a:pt x="732" y="72"/>
                    <a:pt x="748" y="55"/>
                    <a:pt x="748" y="36"/>
                  </a:cubicBezTo>
                  <a:close/>
                  <a:moveTo>
                    <a:pt x="810" y="144"/>
                  </a:moveTo>
                  <a:cubicBezTo>
                    <a:pt x="810" y="124"/>
                    <a:pt x="794" y="108"/>
                    <a:pt x="773" y="108"/>
                  </a:cubicBezTo>
                  <a:cubicBezTo>
                    <a:pt x="754" y="108"/>
                    <a:pt x="738" y="124"/>
                    <a:pt x="738" y="144"/>
                  </a:cubicBezTo>
                  <a:cubicBezTo>
                    <a:pt x="738" y="163"/>
                    <a:pt x="754" y="180"/>
                    <a:pt x="773" y="180"/>
                  </a:cubicBezTo>
                  <a:cubicBezTo>
                    <a:pt x="794" y="180"/>
                    <a:pt x="810" y="163"/>
                    <a:pt x="810" y="144"/>
                  </a:cubicBezTo>
                  <a:close/>
                  <a:moveTo>
                    <a:pt x="855" y="53"/>
                  </a:moveTo>
                  <a:cubicBezTo>
                    <a:pt x="855" y="33"/>
                    <a:pt x="839" y="17"/>
                    <a:pt x="819" y="17"/>
                  </a:cubicBezTo>
                  <a:cubicBezTo>
                    <a:pt x="799" y="17"/>
                    <a:pt x="783" y="33"/>
                    <a:pt x="783" y="53"/>
                  </a:cubicBezTo>
                  <a:cubicBezTo>
                    <a:pt x="783" y="73"/>
                    <a:pt x="799" y="89"/>
                    <a:pt x="819" y="89"/>
                  </a:cubicBezTo>
                  <a:cubicBezTo>
                    <a:pt x="839" y="89"/>
                    <a:pt x="855" y="73"/>
                    <a:pt x="855" y="53"/>
                  </a:cubicBezTo>
                  <a:close/>
                  <a:moveTo>
                    <a:pt x="1708" y="1199"/>
                  </a:moveTo>
                  <a:cubicBezTo>
                    <a:pt x="1708" y="1218"/>
                    <a:pt x="1724" y="1235"/>
                    <a:pt x="1745" y="1235"/>
                  </a:cubicBezTo>
                  <a:cubicBezTo>
                    <a:pt x="1764" y="1235"/>
                    <a:pt x="1780" y="1218"/>
                    <a:pt x="1780" y="1199"/>
                  </a:cubicBezTo>
                  <a:cubicBezTo>
                    <a:pt x="1780" y="1179"/>
                    <a:pt x="1764" y="1163"/>
                    <a:pt x="1745" y="1163"/>
                  </a:cubicBezTo>
                  <a:cubicBezTo>
                    <a:pt x="1724" y="1163"/>
                    <a:pt x="1708" y="1179"/>
                    <a:pt x="1708" y="1199"/>
                  </a:cubicBezTo>
                  <a:close/>
                  <a:moveTo>
                    <a:pt x="1701" y="888"/>
                  </a:moveTo>
                  <a:cubicBezTo>
                    <a:pt x="1701" y="907"/>
                    <a:pt x="1717" y="924"/>
                    <a:pt x="1738" y="924"/>
                  </a:cubicBezTo>
                  <a:cubicBezTo>
                    <a:pt x="1757" y="924"/>
                    <a:pt x="1773" y="907"/>
                    <a:pt x="1773" y="888"/>
                  </a:cubicBezTo>
                  <a:cubicBezTo>
                    <a:pt x="1773" y="868"/>
                    <a:pt x="1757" y="852"/>
                    <a:pt x="1738" y="852"/>
                  </a:cubicBezTo>
                  <a:cubicBezTo>
                    <a:pt x="1717" y="852"/>
                    <a:pt x="1701" y="868"/>
                    <a:pt x="1701" y="888"/>
                  </a:cubicBezTo>
                  <a:close/>
                  <a:moveTo>
                    <a:pt x="1616" y="488"/>
                  </a:moveTo>
                  <a:cubicBezTo>
                    <a:pt x="1616" y="507"/>
                    <a:pt x="1632" y="524"/>
                    <a:pt x="1652" y="524"/>
                  </a:cubicBezTo>
                  <a:cubicBezTo>
                    <a:pt x="1671" y="524"/>
                    <a:pt x="1688" y="507"/>
                    <a:pt x="1688" y="488"/>
                  </a:cubicBezTo>
                  <a:cubicBezTo>
                    <a:pt x="1688" y="468"/>
                    <a:pt x="1671" y="452"/>
                    <a:pt x="1652" y="452"/>
                  </a:cubicBezTo>
                  <a:cubicBezTo>
                    <a:pt x="1632" y="452"/>
                    <a:pt x="1616" y="468"/>
                    <a:pt x="1616" y="488"/>
                  </a:cubicBezTo>
                  <a:close/>
                  <a:moveTo>
                    <a:pt x="1485" y="452"/>
                  </a:moveTo>
                  <a:cubicBezTo>
                    <a:pt x="1485" y="471"/>
                    <a:pt x="1501" y="488"/>
                    <a:pt x="1521" y="488"/>
                  </a:cubicBezTo>
                  <a:cubicBezTo>
                    <a:pt x="1541" y="488"/>
                    <a:pt x="1557" y="471"/>
                    <a:pt x="1557" y="452"/>
                  </a:cubicBezTo>
                  <a:cubicBezTo>
                    <a:pt x="1557" y="432"/>
                    <a:pt x="1541" y="416"/>
                    <a:pt x="1521" y="416"/>
                  </a:cubicBezTo>
                  <a:cubicBezTo>
                    <a:pt x="1501" y="416"/>
                    <a:pt x="1485" y="432"/>
                    <a:pt x="1485" y="452"/>
                  </a:cubicBezTo>
                  <a:close/>
                  <a:moveTo>
                    <a:pt x="1373" y="165"/>
                  </a:moveTo>
                  <a:cubicBezTo>
                    <a:pt x="1373" y="184"/>
                    <a:pt x="1389" y="201"/>
                    <a:pt x="1410" y="201"/>
                  </a:cubicBezTo>
                  <a:cubicBezTo>
                    <a:pt x="1429" y="201"/>
                    <a:pt x="1445" y="184"/>
                    <a:pt x="1445" y="165"/>
                  </a:cubicBezTo>
                  <a:cubicBezTo>
                    <a:pt x="1445" y="145"/>
                    <a:pt x="1429" y="129"/>
                    <a:pt x="1410" y="129"/>
                  </a:cubicBezTo>
                  <a:cubicBezTo>
                    <a:pt x="1389" y="129"/>
                    <a:pt x="1373" y="145"/>
                    <a:pt x="1373" y="165"/>
                  </a:cubicBezTo>
                  <a:close/>
                  <a:moveTo>
                    <a:pt x="1536" y="567"/>
                  </a:moveTo>
                  <a:cubicBezTo>
                    <a:pt x="1536" y="586"/>
                    <a:pt x="1552" y="603"/>
                    <a:pt x="1572" y="603"/>
                  </a:cubicBezTo>
                  <a:cubicBezTo>
                    <a:pt x="1591" y="603"/>
                    <a:pt x="1608" y="586"/>
                    <a:pt x="1608" y="567"/>
                  </a:cubicBezTo>
                  <a:cubicBezTo>
                    <a:pt x="1608" y="547"/>
                    <a:pt x="1591" y="531"/>
                    <a:pt x="1572" y="531"/>
                  </a:cubicBezTo>
                  <a:cubicBezTo>
                    <a:pt x="1552" y="531"/>
                    <a:pt x="1536" y="547"/>
                    <a:pt x="1536" y="567"/>
                  </a:cubicBezTo>
                  <a:close/>
                  <a:moveTo>
                    <a:pt x="1698" y="1335"/>
                  </a:moveTo>
                  <a:cubicBezTo>
                    <a:pt x="1698" y="1354"/>
                    <a:pt x="1714" y="1371"/>
                    <a:pt x="1734" y="1371"/>
                  </a:cubicBezTo>
                  <a:cubicBezTo>
                    <a:pt x="1753" y="1371"/>
                    <a:pt x="1770" y="1354"/>
                    <a:pt x="1770" y="1335"/>
                  </a:cubicBezTo>
                  <a:cubicBezTo>
                    <a:pt x="1770" y="1314"/>
                    <a:pt x="1753" y="1299"/>
                    <a:pt x="1734" y="1299"/>
                  </a:cubicBezTo>
                  <a:cubicBezTo>
                    <a:pt x="1714" y="1299"/>
                    <a:pt x="1698" y="1314"/>
                    <a:pt x="1698" y="1335"/>
                  </a:cubicBezTo>
                  <a:close/>
                  <a:moveTo>
                    <a:pt x="1590" y="1274"/>
                  </a:moveTo>
                  <a:cubicBezTo>
                    <a:pt x="1590" y="1293"/>
                    <a:pt x="1606" y="1310"/>
                    <a:pt x="1626" y="1310"/>
                  </a:cubicBezTo>
                  <a:cubicBezTo>
                    <a:pt x="1645" y="1310"/>
                    <a:pt x="1662" y="1293"/>
                    <a:pt x="1662" y="1274"/>
                  </a:cubicBezTo>
                  <a:cubicBezTo>
                    <a:pt x="1662" y="1253"/>
                    <a:pt x="1645" y="1238"/>
                    <a:pt x="1626" y="1238"/>
                  </a:cubicBezTo>
                  <a:cubicBezTo>
                    <a:pt x="1606" y="1238"/>
                    <a:pt x="1590" y="1253"/>
                    <a:pt x="1590" y="1274"/>
                  </a:cubicBezTo>
                  <a:close/>
                  <a:moveTo>
                    <a:pt x="1555" y="373"/>
                  </a:moveTo>
                  <a:cubicBezTo>
                    <a:pt x="1555" y="392"/>
                    <a:pt x="1571" y="409"/>
                    <a:pt x="1591" y="409"/>
                  </a:cubicBezTo>
                  <a:cubicBezTo>
                    <a:pt x="1610" y="409"/>
                    <a:pt x="1627" y="392"/>
                    <a:pt x="1627" y="373"/>
                  </a:cubicBezTo>
                  <a:cubicBezTo>
                    <a:pt x="1627" y="353"/>
                    <a:pt x="1610" y="337"/>
                    <a:pt x="1591" y="337"/>
                  </a:cubicBezTo>
                  <a:cubicBezTo>
                    <a:pt x="1571" y="337"/>
                    <a:pt x="1555" y="353"/>
                    <a:pt x="1555" y="373"/>
                  </a:cubicBezTo>
                  <a:close/>
                  <a:moveTo>
                    <a:pt x="1272" y="189"/>
                  </a:moveTo>
                  <a:cubicBezTo>
                    <a:pt x="1272" y="209"/>
                    <a:pt x="1288" y="225"/>
                    <a:pt x="1309" y="225"/>
                  </a:cubicBezTo>
                  <a:cubicBezTo>
                    <a:pt x="1328" y="225"/>
                    <a:pt x="1344" y="209"/>
                    <a:pt x="1344" y="189"/>
                  </a:cubicBezTo>
                  <a:cubicBezTo>
                    <a:pt x="1344" y="169"/>
                    <a:pt x="1328" y="153"/>
                    <a:pt x="1309" y="153"/>
                  </a:cubicBezTo>
                  <a:cubicBezTo>
                    <a:pt x="1288" y="153"/>
                    <a:pt x="1272" y="169"/>
                    <a:pt x="1272" y="189"/>
                  </a:cubicBezTo>
                  <a:close/>
                  <a:moveTo>
                    <a:pt x="1032" y="36"/>
                  </a:moveTo>
                  <a:cubicBezTo>
                    <a:pt x="1032" y="55"/>
                    <a:pt x="1048" y="72"/>
                    <a:pt x="1069" y="72"/>
                  </a:cubicBezTo>
                  <a:cubicBezTo>
                    <a:pt x="1088" y="72"/>
                    <a:pt x="1104" y="55"/>
                    <a:pt x="1104" y="36"/>
                  </a:cubicBezTo>
                  <a:cubicBezTo>
                    <a:pt x="1104" y="16"/>
                    <a:pt x="1088" y="0"/>
                    <a:pt x="1069" y="0"/>
                  </a:cubicBezTo>
                  <a:cubicBezTo>
                    <a:pt x="1048" y="0"/>
                    <a:pt x="1032" y="16"/>
                    <a:pt x="1032" y="36"/>
                  </a:cubicBezTo>
                  <a:close/>
                  <a:moveTo>
                    <a:pt x="970" y="144"/>
                  </a:moveTo>
                  <a:cubicBezTo>
                    <a:pt x="970" y="163"/>
                    <a:pt x="986" y="180"/>
                    <a:pt x="1007" y="180"/>
                  </a:cubicBezTo>
                  <a:cubicBezTo>
                    <a:pt x="1026" y="180"/>
                    <a:pt x="1042" y="163"/>
                    <a:pt x="1042" y="144"/>
                  </a:cubicBezTo>
                  <a:cubicBezTo>
                    <a:pt x="1042" y="124"/>
                    <a:pt x="1026" y="108"/>
                    <a:pt x="1007" y="108"/>
                  </a:cubicBezTo>
                  <a:cubicBezTo>
                    <a:pt x="986" y="108"/>
                    <a:pt x="970" y="124"/>
                    <a:pt x="970" y="144"/>
                  </a:cubicBezTo>
                  <a:close/>
                  <a:moveTo>
                    <a:pt x="925" y="53"/>
                  </a:moveTo>
                  <a:cubicBezTo>
                    <a:pt x="925" y="73"/>
                    <a:pt x="941" y="89"/>
                    <a:pt x="961" y="89"/>
                  </a:cubicBezTo>
                  <a:cubicBezTo>
                    <a:pt x="981" y="89"/>
                    <a:pt x="997" y="73"/>
                    <a:pt x="997" y="53"/>
                  </a:cubicBezTo>
                  <a:cubicBezTo>
                    <a:pt x="997" y="33"/>
                    <a:pt x="981" y="17"/>
                    <a:pt x="961" y="17"/>
                  </a:cubicBezTo>
                  <a:cubicBezTo>
                    <a:pt x="941" y="17"/>
                    <a:pt x="925" y="33"/>
                    <a:pt x="925" y="53"/>
                  </a:cubicBezTo>
                  <a:close/>
                  <a:moveTo>
                    <a:pt x="789" y="1469"/>
                  </a:moveTo>
                  <a:cubicBezTo>
                    <a:pt x="632" y="1496"/>
                    <a:pt x="508" y="1583"/>
                    <a:pt x="405" y="1656"/>
                  </a:cubicBezTo>
                  <a:cubicBezTo>
                    <a:pt x="314" y="1720"/>
                    <a:pt x="235" y="1776"/>
                    <a:pt x="158" y="1776"/>
                  </a:cubicBezTo>
                  <a:cubicBezTo>
                    <a:pt x="145" y="1776"/>
                    <a:pt x="136" y="1786"/>
                    <a:pt x="136" y="1798"/>
                  </a:cubicBezTo>
                  <a:cubicBezTo>
                    <a:pt x="136" y="1810"/>
                    <a:pt x="145" y="1820"/>
                    <a:pt x="158" y="1820"/>
                  </a:cubicBezTo>
                  <a:cubicBezTo>
                    <a:pt x="249" y="1820"/>
                    <a:pt x="333" y="1761"/>
                    <a:pt x="431" y="1692"/>
                  </a:cubicBezTo>
                  <a:cubicBezTo>
                    <a:pt x="532" y="1620"/>
                    <a:pt x="645" y="1541"/>
                    <a:pt x="788" y="1514"/>
                  </a:cubicBezTo>
                  <a:lnTo>
                    <a:pt x="789" y="1469"/>
                  </a:lnTo>
                  <a:close/>
                  <a:moveTo>
                    <a:pt x="1622" y="1776"/>
                  </a:moveTo>
                  <a:cubicBezTo>
                    <a:pt x="1545" y="1776"/>
                    <a:pt x="1466" y="1720"/>
                    <a:pt x="1375" y="1656"/>
                  </a:cubicBezTo>
                  <a:cubicBezTo>
                    <a:pt x="1272" y="1583"/>
                    <a:pt x="1148" y="1496"/>
                    <a:pt x="989" y="1469"/>
                  </a:cubicBezTo>
                  <a:cubicBezTo>
                    <a:pt x="991" y="1513"/>
                    <a:pt x="991" y="1513"/>
                    <a:pt x="991" y="1513"/>
                  </a:cubicBezTo>
                  <a:cubicBezTo>
                    <a:pt x="1134" y="1540"/>
                    <a:pt x="1247" y="1620"/>
                    <a:pt x="1349" y="1692"/>
                  </a:cubicBezTo>
                  <a:cubicBezTo>
                    <a:pt x="1447" y="1761"/>
                    <a:pt x="1531" y="1820"/>
                    <a:pt x="1622" y="1820"/>
                  </a:cubicBezTo>
                  <a:cubicBezTo>
                    <a:pt x="1635" y="1820"/>
                    <a:pt x="1644" y="1810"/>
                    <a:pt x="1644" y="1798"/>
                  </a:cubicBezTo>
                  <a:cubicBezTo>
                    <a:pt x="1644" y="1786"/>
                    <a:pt x="1635" y="1776"/>
                    <a:pt x="1622" y="1776"/>
                  </a:cubicBezTo>
                  <a:close/>
                </a:path>
              </a:pathLst>
            </a:custGeom>
            <a:solidFill>
              <a:srgbClr val="20386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1282FB31-ADD6-CD8E-9DAB-3A8016A3F877}"/>
              </a:ext>
            </a:extLst>
          </p:cNvPr>
          <p:cNvGrpSpPr/>
          <p:nvPr/>
        </p:nvGrpSpPr>
        <p:grpSpPr>
          <a:xfrm>
            <a:off x="3973081" y="3384568"/>
            <a:ext cx="548642" cy="548640"/>
            <a:chOff x="12060422" y="2347906"/>
            <a:chExt cx="604621" cy="604621"/>
          </a:xfrm>
        </p:grpSpPr>
        <p:sp>
          <p:nvSpPr>
            <p:cNvPr id="18" name="AutoShape 70">
              <a:extLst>
                <a:ext uri="{FF2B5EF4-FFF2-40B4-BE49-F238E27FC236}">
                  <a16:creationId xmlns:a16="http://schemas.microsoft.com/office/drawing/2014/main" id="{AC68BF26-BB2A-B29E-3153-F5E9FE8B5AD9}"/>
                </a:ext>
              </a:extLst>
            </p:cNvPr>
            <p:cNvSpPr>
              <a:spLocks noChangeAspect="1" noChangeArrowheads="1" noTextEdit="1"/>
            </p:cNvSpPr>
            <p:nvPr/>
          </p:nvSpPr>
          <p:spPr bwMode="auto">
            <a:xfrm>
              <a:off x="12060422" y="2347906"/>
              <a:ext cx="604621" cy="604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84">
              <a:extLst>
                <a:ext uri="{FF2B5EF4-FFF2-40B4-BE49-F238E27FC236}">
                  <a16:creationId xmlns:a16="http://schemas.microsoft.com/office/drawing/2014/main" id="{9D46EEA8-9EB1-96C7-179F-E029ABA03942}"/>
                </a:ext>
              </a:extLst>
            </p:cNvPr>
            <p:cNvSpPr>
              <a:spLocks/>
            </p:cNvSpPr>
            <p:nvPr/>
          </p:nvSpPr>
          <p:spPr bwMode="auto">
            <a:xfrm>
              <a:off x="12298889" y="2582292"/>
              <a:ext cx="135267" cy="135267"/>
            </a:xfrm>
            <a:custGeom>
              <a:avLst/>
              <a:gdLst>
                <a:gd name="T0" fmla="*/ 514 w 514"/>
                <a:gd name="T1" fmla="*/ 238 h 514"/>
                <a:gd name="T2" fmla="*/ 439 w 514"/>
                <a:gd name="T3" fmla="*/ 75 h 514"/>
                <a:gd name="T4" fmla="*/ 405 w 514"/>
                <a:gd name="T5" fmla="*/ 47 h 514"/>
                <a:gd name="T6" fmla="*/ 257 w 514"/>
                <a:gd name="T7" fmla="*/ 0 h 514"/>
                <a:gd name="T8" fmla="*/ 168 w 514"/>
                <a:gd name="T9" fmla="*/ 16 h 514"/>
                <a:gd name="T10" fmla="*/ 128 w 514"/>
                <a:gd name="T11" fmla="*/ 35 h 514"/>
                <a:gd name="T12" fmla="*/ 4 w 514"/>
                <a:gd name="T13" fmla="*/ 214 h 514"/>
                <a:gd name="T14" fmla="*/ 0 w 514"/>
                <a:gd name="T15" fmla="*/ 257 h 514"/>
                <a:gd name="T16" fmla="*/ 0 w 514"/>
                <a:gd name="T17" fmla="*/ 258 h 514"/>
                <a:gd name="T18" fmla="*/ 84 w 514"/>
                <a:gd name="T19" fmla="*/ 446 h 514"/>
                <a:gd name="T20" fmla="*/ 119 w 514"/>
                <a:gd name="T21" fmla="*/ 473 h 514"/>
                <a:gd name="T22" fmla="*/ 257 w 514"/>
                <a:gd name="T23" fmla="*/ 514 h 514"/>
                <a:gd name="T24" fmla="*/ 391 w 514"/>
                <a:gd name="T25" fmla="*/ 477 h 514"/>
                <a:gd name="T26" fmla="*/ 426 w 514"/>
                <a:gd name="T27" fmla="*/ 451 h 514"/>
                <a:gd name="T28" fmla="*/ 513 w 514"/>
                <a:gd name="T29" fmla="*/ 282 h 514"/>
                <a:gd name="T30" fmla="*/ 514 w 514"/>
                <a:gd name="T31" fmla="*/ 257 h 514"/>
                <a:gd name="T32" fmla="*/ 514 w 514"/>
                <a:gd name="T33" fmla="*/ 23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4" h="514">
                  <a:moveTo>
                    <a:pt x="514" y="238"/>
                  </a:moveTo>
                  <a:cubicBezTo>
                    <a:pt x="509" y="175"/>
                    <a:pt x="482" y="118"/>
                    <a:pt x="439" y="75"/>
                  </a:cubicBezTo>
                  <a:cubicBezTo>
                    <a:pt x="429" y="65"/>
                    <a:pt x="417" y="55"/>
                    <a:pt x="405" y="47"/>
                  </a:cubicBezTo>
                  <a:cubicBezTo>
                    <a:pt x="364" y="17"/>
                    <a:pt x="313" y="0"/>
                    <a:pt x="257" y="0"/>
                  </a:cubicBezTo>
                  <a:cubicBezTo>
                    <a:pt x="226" y="0"/>
                    <a:pt x="196" y="5"/>
                    <a:pt x="168" y="16"/>
                  </a:cubicBezTo>
                  <a:cubicBezTo>
                    <a:pt x="154" y="21"/>
                    <a:pt x="141" y="27"/>
                    <a:pt x="128" y="35"/>
                  </a:cubicBezTo>
                  <a:cubicBezTo>
                    <a:pt x="64" y="72"/>
                    <a:pt x="17" y="138"/>
                    <a:pt x="4" y="214"/>
                  </a:cubicBezTo>
                  <a:cubicBezTo>
                    <a:pt x="2" y="228"/>
                    <a:pt x="0" y="242"/>
                    <a:pt x="0" y="257"/>
                  </a:cubicBezTo>
                  <a:cubicBezTo>
                    <a:pt x="0" y="257"/>
                    <a:pt x="0" y="258"/>
                    <a:pt x="0" y="258"/>
                  </a:cubicBezTo>
                  <a:cubicBezTo>
                    <a:pt x="1" y="333"/>
                    <a:pt x="33" y="400"/>
                    <a:pt x="84" y="446"/>
                  </a:cubicBezTo>
                  <a:cubicBezTo>
                    <a:pt x="95" y="456"/>
                    <a:pt x="106" y="465"/>
                    <a:pt x="119" y="473"/>
                  </a:cubicBezTo>
                  <a:cubicBezTo>
                    <a:pt x="159" y="499"/>
                    <a:pt x="206" y="514"/>
                    <a:pt x="257" y="514"/>
                  </a:cubicBezTo>
                  <a:cubicBezTo>
                    <a:pt x="306" y="514"/>
                    <a:pt x="352" y="500"/>
                    <a:pt x="391" y="477"/>
                  </a:cubicBezTo>
                  <a:cubicBezTo>
                    <a:pt x="403" y="469"/>
                    <a:pt x="415" y="460"/>
                    <a:pt x="426" y="451"/>
                  </a:cubicBezTo>
                  <a:cubicBezTo>
                    <a:pt x="474" y="409"/>
                    <a:pt x="507" y="349"/>
                    <a:pt x="513" y="282"/>
                  </a:cubicBezTo>
                  <a:cubicBezTo>
                    <a:pt x="514" y="274"/>
                    <a:pt x="514" y="265"/>
                    <a:pt x="514" y="257"/>
                  </a:cubicBezTo>
                  <a:cubicBezTo>
                    <a:pt x="514" y="251"/>
                    <a:pt x="514" y="244"/>
                    <a:pt x="514" y="238"/>
                  </a:cubicBezTo>
                  <a:close/>
                </a:path>
              </a:pathLst>
            </a:custGeom>
            <a:solidFill>
              <a:srgbClr val="203864"/>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2">
              <a:extLst>
                <a:ext uri="{FF2B5EF4-FFF2-40B4-BE49-F238E27FC236}">
                  <a16:creationId xmlns:a16="http://schemas.microsoft.com/office/drawing/2014/main" id="{8E4DFF34-1EDD-91AB-82B3-506AD1EEA555}"/>
                </a:ext>
              </a:extLst>
            </p:cNvPr>
            <p:cNvSpPr>
              <a:spLocks/>
            </p:cNvSpPr>
            <p:nvPr/>
          </p:nvSpPr>
          <p:spPr bwMode="auto">
            <a:xfrm>
              <a:off x="12085493" y="2375309"/>
              <a:ext cx="555062" cy="549232"/>
            </a:xfrm>
            <a:custGeom>
              <a:avLst/>
              <a:gdLst>
                <a:gd name="connsiteX0" fmla="*/ 1091572 w 1511300"/>
                <a:gd name="connsiteY0" fmla="*/ 1350963 h 1495425"/>
                <a:gd name="connsiteX1" fmla="*/ 1210303 w 1511300"/>
                <a:gd name="connsiteY1" fmla="*/ 1350963 h 1495425"/>
                <a:gd name="connsiteX2" fmla="*/ 1216025 w 1511300"/>
                <a:gd name="connsiteY2" fmla="*/ 1356519 h 1495425"/>
                <a:gd name="connsiteX3" fmla="*/ 1210303 w 1511300"/>
                <a:gd name="connsiteY3" fmla="*/ 1362075 h 1495425"/>
                <a:gd name="connsiteX4" fmla="*/ 1091572 w 1511300"/>
                <a:gd name="connsiteY4" fmla="*/ 1362075 h 1495425"/>
                <a:gd name="connsiteX5" fmla="*/ 1085850 w 1511300"/>
                <a:gd name="connsiteY5" fmla="*/ 1356519 h 1495425"/>
                <a:gd name="connsiteX6" fmla="*/ 1091572 w 1511300"/>
                <a:gd name="connsiteY6" fmla="*/ 1350963 h 1495425"/>
                <a:gd name="connsiteX7" fmla="*/ 344378 w 1511300"/>
                <a:gd name="connsiteY7" fmla="*/ 1285875 h 1495425"/>
                <a:gd name="connsiteX8" fmla="*/ 348648 w 1511300"/>
                <a:gd name="connsiteY8" fmla="*/ 1285875 h 1495425"/>
                <a:gd name="connsiteX9" fmla="*/ 350783 w 1511300"/>
                <a:gd name="connsiteY9" fmla="*/ 1286597 h 1495425"/>
                <a:gd name="connsiteX10" fmla="*/ 372844 w 1511300"/>
                <a:gd name="connsiteY10" fmla="*/ 1296699 h 1495425"/>
                <a:gd name="connsiteX11" fmla="*/ 382807 w 1511300"/>
                <a:gd name="connsiteY11" fmla="*/ 1301750 h 1495425"/>
                <a:gd name="connsiteX12" fmla="*/ 413407 w 1511300"/>
                <a:gd name="connsiteY12" fmla="*/ 1316182 h 1495425"/>
                <a:gd name="connsiteX13" fmla="*/ 417677 w 1511300"/>
                <a:gd name="connsiteY13" fmla="*/ 1327727 h 1495425"/>
                <a:gd name="connsiteX14" fmla="*/ 410561 w 1511300"/>
                <a:gd name="connsiteY14" fmla="*/ 1333500 h 1495425"/>
                <a:gd name="connsiteX15" fmla="*/ 407002 w 1511300"/>
                <a:gd name="connsiteY15" fmla="*/ 1332779 h 1495425"/>
                <a:gd name="connsiteX16" fmla="*/ 383518 w 1511300"/>
                <a:gd name="connsiteY16" fmla="*/ 1321233 h 1495425"/>
                <a:gd name="connsiteX17" fmla="*/ 373555 w 1511300"/>
                <a:gd name="connsiteY17" fmla="*/ 1316182 h 1495425"/>
                <a:gd name="connsiteX18" fmla="*/ 349359 w 1511300"/>
                <a:gd name="connsiteY18" fmla="*/ 1304636 h 1495425"/>
                <a:gd name="connsiteX19" fmla="*/ 346513 w 1511300"/>
                <a:gd name="connsiteY19" fmla="*/ 1303193 h 1495425"/>
                <a:gd name="connsiteX20" fmla="*/ 286023 w 1511300"/>
                <a:gd name="connsiteY20" fmla="*/ 1332779 h 1495425"/>
                <a:gd name="connsiteX21" fmla="*/ 282465 w 1511300"/>
                <a:gd name="connsiteY21" fmla="*/ 1333500 h 1495425"/>
                <a:gd name="connsiteX22" fmla="*/ 275349 w 1511300"/>
                <a:gd name="connsiteY22" fmla="*/ 1327727 h 1495425"/>
                <a:gd name="connsiteX23" fmla="*/ 275349 w 1511300"/>
                <a:gd name="connsiteY23" fmla="*/ 1321233 h 1495425"/>
                <a:gd name="connsiteX24" fmla="*/ 279619 w 1511300"/>
                <a:gd name="connsiteY24" fmla="*/ 1316182 h 1495425"/>
                <a:gd name="connsiteX25" fmla="*/ 342243 w 1511300"/>
                <a:gd name="connsiteY25" fmla="*/ 1286597 h 1495425"/>
                <a:gd name="connsiteX26" fmla="*/ 344378 w 1511300"/>
                <a:gd name="connsiteY26" fmla="*/ 1285875 h 1495425"/>
                <a:gd name="connsiteX27" fmla="*/ 1185465 w 1511300"/>
                <a:gd name="connsiteY27" fmla="*/ 1253126 h 1495425"/>
                <a:gd name="connsiteX28" fmla="*/ 1194038 w 1511300"/>
                <a:gd name="connsiteY28" fmla="*/ 1253126 h 1495425"/>
                <a:gd name="connsiteX29" fmla="*/ 1216183 w 1511300"/>
                <a:gd name="connsiteY29" fmla="*/ 1275611 h 1495425"/>
                <a:gd name="connsiteX30" fmla="*/ 1217612 w 1511300"/>
                <a:gd name="connsiteY30" fmla="*/ 1279963 h 1495425"/>
                <a:gd name="connsiteX31" fmla="*/ 1216183 w 1511300"/>
                <a:gd name="connsiteY31" fmla="*/ 1284315 h 1495425"/>
                <a:gd name="connsiteX32" fmla="*/ 1206897 w 1511300"/>
                <a:gd name="connsiteY32" fmla="*/ 1284315 h 1495425"/>
                <a:gd name="connsiteX33" fmla="*/ 1199753 w 1511300"/>
                <a:gd name="connsiteY33" fmla="*/ 1277061 h 1495425"/>
                <a:gd name="connsiteX34" fmla="*/ 1196181 w 1511300"/>
                <a:gd name="connsiteY34" fmla="*/ 1273435 h 1495425"/>
                <a:gd name="connsiteX35" fmla="*/ 1196181 w 1511300"/>
                <a:gd name="connsiteY35" fmla="*/ 1274885 h 1495425"/>
                <a:gd name="connsiteX36" fmla="*/ 1196181 w 1511300"/>
                <a:gd name="connsiteY36" fmla="*/ 1324933 h 1495425"/>
                <a:gd name="connsiteX37" fmla="*/ 1196181 w 1511300"/>
                <a:gd name="connsiteY37" fmla="*/ 1328559 h 1495425"/>
                <a:gd name="connsiteX38" fmla="*/ 1189752 w 1511300"/>
                <a:gd name="connsiteY38" fmla="*/ 1335087 h 1495425"/>
                <a:gd name="connsiteX39" fmla="*/ 1183322 w 1511300"/>
                <a:gd name="connsiteY39" fmla="*/ 1328559 h 1495425"/>
                <a:gd name="connsiteX40" fmla="*/ 1183322 w 1511300"/>
                <a:gd name="connsiteY40" fmla="*/ 1272709 h 1495425"/>
                <a:gd name="connsiteX41" fmla="*/ 1174750 w 1511300"/>
                <a:gd name="connsiteY41" fmla="*/ 1281413 h 1495425"/>
                <a:gd name="connsiteX42" fmla="*/ 1172607 w 1511300"/>
                <a:gd name="connsiteY42" fmla="*/ 1284315 h 1495425"/>
                <a:gd name="connsiteX43" fmla="*/ 1163320 w 1511300"/>
                <a:gd name="connsiteY43" fmla="*/ 1284315 h 1495425"/>
                <a:gd name="connsiteX44" fmla="*/ 1163320 w 1511300"/>
                <a:gd name="connsiteY44" fmla="*/ 1275611 h 1495425"/>
                <a:gd name="connsiteX45" fmla="*/ 1176178 w 1511300"/>
                <a:gd name="connsiteY45" fmla="*/ 1261830 h 1495425"/>
                <a:gd name="connsiteX46" fmla="*/ 1182608 w 1511300"/>
                <a:gd name="connsiteY46" fmla="*/ 1256027 h 1495425"/>
                <a:gd name="connsiteX47" fmla="*/ 1185465 w 1511300"/>
                <a:gd name="connsiteY47" fmla="*/ 1253126 h 1495425"/>
                <a:gd name="connsiteX48" fmla="*/ 1114266 w 1511300"/>
                <a:gd name="connsiteY48" fmla="*/ 1251675 h 1495425"/>
                <a:gd name="connsiteX49" fmla="*/ 1117838 w 1511300"/>
                <a:gd name="connsiteY49" fmla="*/ 1253126 h 1495425"/>
                <a:gd name="connsiteX50" fmla="*/ 1139269 w 1511300"/>
                <a:gd name="connsiteY50" fmla="*/ 1275611 h 1495425"/>
                <a:gd name="connsiteX51" fmla="*/ 1141412 w 1511300"/>
                <a:gd name="connsiteY51" fmla="*/ 1279963 h 1495425"/>
                <a:gd name="connsiteX52" fmla="*/ 1140698 w 1511300"/>
                <a:gd name="connsiteY52" fmla="*/ 1282864 h 1495425"/>
                <a:gd name="connsiteX53" fmla="*/ 1139269 w 1511300"/>
                <a:gd name="connsiteY53" fmla="*/ 1284315 h 1495425"/>
                <a:gd name="connsiteX54" fmla="*/ 1130697 w 1511300"/>
                <a:gd name="connsiteY54" fmla="*/ 1284315 h 1495425"/>
                <a:gd name="connsiteX55" fmla="*/ 1123553 w 1511300"/>
                <a:gd name="connsiteY55" fmla="*/ 1277061 h 1495425"/>
                <a:gd name="connsiteX56" fmla="*/ 1119981 w 1511300"/>
                <a:gd name="connsiteY56" fmla="*/ 1273435 h 1495425"/>
                <a:gd name="connsiteX57" fmla="*/ 1119267 w 1511300"/>
                <a:gd name="connsiteY57" fmla="*/ 1272709 h 1495425"/>
                <a:gd name="connsiteX58" fmla="*/ 1119267 w 1511300"/>
                <a:gd name="connsiteY58" fmla="*/ 1274885 h 1495425"/>
                <a:gd name="connsiteX59" fmla="*/ 1119267 w 1511300"/>
                <a:gd name="connsiteY59" fmla="*/ 1324933 h 1495425"/>
                <a:gd name="connsiteX60" fmla="*/ 1119267 w 1511300"/>
                <a:gd name="connsiteY60" fmla="*/ 1328559 h 1495425"/>
                <a:gd name="connsiteX61" fmla="*/ 1112837 w 1511300"/>
                <a:gd name="connsiteY61" fmla="*/ 1335087 h 1495425"/>
                <a:gd name="connsiteX62" fmla="*/ 1107122 w 1511300"/>
                <a:gd name="connsiteY62" fmla="*/ 1328559 h 1495425"/>
                <a:gd name="connsiteX63" fmla="*/ 1107122 w 1511300"/>
                <a:gd name="connsiteY63" fmla="*/ 1272709 h 1495425"/>
                <a:gd name="connsiteX64" fmla="*/ 1098550 w 1511300"/>
                <a:gd name="connsiteY64" fmla="*/ 1281413 h 1495425"/>
                <a:gd name="connsiteX65" fmla="*/ 1095692 w 1511300"/>
                <a:gd name="connsiteY65" fmla="*/ 1284315 h 1495425"/>
                <a:gd name="connsiteX66" fmla="*/ 1087120 w 1511300"/>
                <a:gd name="connsiteY66" fmla="*/ 1284315 h 1495425"/>
                <a:gd name="connsiteX67" fmla="*/ 1087120 w 1511300"/>
                <a:gd name="connsiteY67" fmla="*/ 1275611 h 1495425"/>
                <a:gd name="connsiteX68" fmla="*/ 1099978 w 1511300"/>
                <a:gd name="connsiteY68" fmla="*/ 1261830 h 1495425"/>
                <a:gd name="connsiteX69" fmla="*/ 1105693 w 1511300"/>
                <a:gd name="connsiteY69" fmla="*/ 1256027 h 1495425"/>
                <a:gd name="connsiteX70" fmla="*/ 1108551 w 1511300"/>
                <a:gd name="connsiteY70" fmla="*/ 1253126 h 1495425"/>
                <a:gd name="connsiteX71" fmla="*/ 1114266 w 1511300"/>
                <a:gd name="connsiteY71" fmla="*/ 1251675 h 1495425"/>
                <a:gd name="connsiteX72" fmla="*/ 1119187 w 1511300"/>
                <a:gd name="connsiteY72" fmla="*/ 1173163 h 1495425"/>
                <a:gd name="connsiteX73" fmla="*/ 1119187 w 1511300"/>
                <a:gd name="connsiteY73" fmla="*/ 1205225 h 1495425"/>
                <a:gd name="connsiteX74" fmla="*/ 1119187 w 1511300"/>
                <a:gd name="connsiteY74" fmla="*/ 1217613 h 1495425"/>
                <a:gd name="connsiteX75" fmla="*/ 1128384 w 1511300"/>
                <a:gd name="connsiteY75" fmla="*/ 1217613 h 1495425"/>
                <a:gd name="connsiteX76" fmla="*/ 1184275 w 1511300"/>
                <a:gd name="connsiteY76" fmla="*/ 1217613 h 1495425"/>
                <a:gd name="connsiteX77" fmla="*/ 1184275 w 1511300"/>
                <a:gd name="connsiteY77" fmla="*/ 1173163 h 1495425"/>
                <a:gd name="connsiteX78" fmla="*/ 1119187 w 1511300"/>
                <a:gd name="connsiteY78" fmla="*/ 1173163 h 1495425"/>
                <a:gd name="connsiteX79" fmla="*/ 1014648 w 1511300"/>
                <a:gd name="connsiteY79" fmla="*/ 1173163 h 1495425"/>
                <a:gd name="connsiteX80" fmla="*/ 1009650 w 1511300"/>
                <a:gd name="connsiteY80" fmla="*/ 1178880 h 1495425"/>
                <a:gd name="connsiteX81" fmla="*/ 1009650 w 1511300"/>
                <a:gd name="connsiteY81" fmla="*/ 1390411 h 1495425"/>
                <a:gd name="connsiteX82" fmla="*/ 1014648 w 1511300"/>
                <a:gd name="connsiteY82" fmla="*/ 1395413 h 1495425"/>
                <a:gd name="connsiteX83" fmla="*/ 1288815 w 1511300"/>
                <a:gd name="connsiteY83" fmla="*/ 1395413 h 1495425"/>
                <a:gd name="connsiteX84" fmla="*/ 1293813 w 1511300"/>
                <a:gd name="connsiteY84" fmla="*/ 1390411 h 1495425"/>
                <a:gd name="connsiteX85" fmla="*/ 1293813 w 1511300"/>
                <a:gd name="connsiteY85" fmla="*/ 1381121 h 1495425"/>
                <a:gd name="connsiteX86" fmla="*/ 1293813 w 1511300"/>
                <a:gd name="connsiteY86" fmla="*/ 1343960 h 1495425"/>
                <a:gd name="connsiteX87" fmla="*/ 1293813 w 1511300"/>
                <a:gd name="connsiteY87" fmla="*/ 1331096 h 1495425"/>
                <a:gd name="connsiteX88" fmla="*/ 1293813 w 1511300"/>
                <a:gd name="connsiteY88" fmla="*/ 1178880 h 1495425"/>
                <a:gd name="connsiteX89" fmla="*/ 1288815 w 1511300"/>
                <a:gd name="connsiteY89" fmla="*/ 1173163 h 1495425"/>
                <a:gd name="connsiteX90" fmla="*/ 1195998 w 1511300"/>
                <a:gd name="connsiteY90" fmla="*/ 1173163 h 1495425"/>
                <a:gd name="connsiteX91" fmla="*/ 1195998 w 1511300"/>
                <a:gd name="connsiteY91" fmla="*/ 1216756 h 1495425"/>
                <a:gd name="connsiteX92" fmla="*/ 1184575 w 1511300"/>
                <a:gd name="connsiteY92" fmla="*/ 1228190 h 1495425"/>
                <a:gd name="connsiteX93" fmla="*/ 1136024 w 1511300"/>
                <a:gd name="connsiteY93" fmla="*/ 1228190 h 1495425"/>
                <a:gd name="connsiteX94" fmla="*/ 1118889 w 1511300"/>
                <a:gd name="connsiteY94" fmla="*/ 1228190 h 1495425"/>
                <a:gd name="connsiteX95" fmla="*/ 1107465 w 1511300"/>
                <a:gd name="connsiteY95" fmla="*/ 1216756 h 1495425"/>
                <a:gd name="connsiteX96" fmla="*/ 1107465 w 1511300"/>
                <a:gd name="connsiteY96" fmla="*/ 1188885 h 1495425"/>
                <a:gd name="connsiteX97" fmla="*/ 1107465 w 1511300"/>
                <a:gd name="connsiteY97" fmla="*/ 1173163 h 1495425"/>
                <a:gd name="connsiteX98" fmla="*/ 1096042 w 1511300"/>
                <a:gd name="connsiteY98" fmla="*/ 1173163 h 1495425"/>
                <a:gd name="connsiteX99" fmla="*/ 1057487 w 1511300"/>
                <a:gd name="connsiteY99" fmla="*/ 1173163 h 1495425"/>
                <a:gd name="connsiteX100" fmla="*/ 1014648 w 1511300"/>
                <a:gd name="connsiteY100" fmla="*/ 1173163 h 1495425"/>
                <a:gd name="connsiteX101" fmla="*/ 333240 w 1511300"/>
                <a:gd name="connsiteY101" fmla="*/ 1146175 h 1495425"/>
                <a:gd name="connsiteX102" fmla="*/ 317458 w 1511300"/>
                <a:gd name="connsiteY102" fmla="*/ 1161850 h 1495425"/>
                <a:gd name="connsiteX103" fmla="*/ 317458 w 1511300"/>
                <a:gd name="connsiteY103" fmla="*/ 1208875 h 1495425"/>
                <a:gd name="connsiteX104" fmla="*/ 262940 w 1511300"/>
                <a:gd name="connsiteY104" fmla="*/ 1208875 h 1495425"/>
                <a:gd name="connsiteX105" fmla="*/ 248593 w 1511300"/>
                <a:gd name="connsiteY105" fmla="*/ 1223125 h 1495425"/>
                <a:gd name="connsiteX106" fmla="*/ 248593 w 1511300"/>
                <a:gd name="connsiteY106" fmla="*/ 1263737 h 1495425"/>
                <a:gd name="connsiteX107" fmla="*/ 248593 w 1511300"/>
                <a:gd name="connsiteY107" fmla="*/ 1275137 h 1495425"/>
                <a:gd name="connsiteX108" fmla="*/ 248593 w 1511300"/>
                <a:gd name="connsiteY108" fmla="*/ 1284400 h 1495425"/>
                <a:gd name="connsiteX109" fmla="*/ 224920 w 1511300"/>
                <a:gd name="connsiteY109" fmla="*/ 1292950 h 1495425"/>
                <a:gd name="connsiteX110" fmla="*/ 224203 w 1511300"/>
                <a:gd name="connsiteY110" fmla="*/ 1295800 h 1495425"/>
                <a:gd name="connsiteX111" fmla="*/ 265092 w 1511300"/>
                <a:gd name="connsiteY111" fmla="*/ 1388425 h 1495425"/>
                <a:gd name="connsiteX112" fmla="*/ 227072 w 1511300"/>
                <a:gd name="connsiteY112" fmla="*/ 1388425 h 1495425"/>
                <a:gd name="connsiteX113" fmla="*/ 212725 w 1511300"/>
                <a:gd name="connsiteY113" fmla="*/ 1402675 h 1495425"/>
                <a:gd name="connsiteX114" fmla="*/ 227072 w 1511300"/>
                <a:gd name="connsiteY114" fmla="*/ 1417637 h 1495425"/>
                <a:gd name="connsiteX115" fmla="*/ 342565 w 1511300"/>
                <a:gd name="connsiteY115" fmla="*/ 1417637 h 1495425"/>
                <a:gd name="connsiteX116" fmla="*/ 358347 w 1511300"/>
                <a:gd name="connsiteY116" fmla="*/ 1417637 h 1495425"/>
                <a:gd name="connsiteX117" fmla="*/ 466666 w 1511300"/>
                <a:gd name="connsiteY117" fmla="*/ 1417637 h 1495425"/>
                <a:gd name="connsiteX118" fmla="*/ 481013 w 1511300"/>
                <a:gd name="connsiteY118" fmla="*/ 1402675 h 1495425"/>
                <a:gd name="connsiteX119" fmla="*/ 466666 w 1511300"/>
                <a:gd name="connsiteY119" fmla="*/ 1388425 h 1495425"/>
                <a:gd name="connsiteX120" fmla="*/ 427930 w 1511300"/>
                <a:gd name="connsiteY120" fmla="*/ 1388425 h 1495425"/>
                <a:gd name="connsiteX121" fmla="*/ 469536 w 1511300"/>
                <a:gd name="connsiteY121" fmla="*/ 1295800 h 1495425"/>
                <a:gd name="connsiteX122" fmla="*/ 468818 w 1511300"/>
                <a:gd name="connsiteY122" fmla="*/ 1292950 h 1495425"/>
                <a:gd name="connsiteX123" fmla="*/ 445146 w 1511300"/>
                <a:gd name="connsiteY123" fmla="*/ 1284400 h 1495425"/>
                <a:gd name="connsiteX124" fmla="*/ 445146 w 1511300"/>
                <a:gd name="connsiteY124" fmla="*/ 1223125 h 1495425"/>
                <a:gd name="connsiteX125" fmla="*/ 430799 w 1511300"/>
                <a:gd name="connsiteY125" fmla="*/ 1208875 h 1495425"/>
                <a:gd name="connsiteX126" fmla="*/ 390627 w 1511300"/>
                <a:gd name="connsiteY126" fmla="*/ 1208875 h 1495425"/>
                <a:gd name="connsiteX127" fmla="*/ 383454 w 1511300"/>
                <a:gd name="connsiteY127" fmla="*/ 1208875 h 1495425"/>
                <a:gd name="connsiteX128" fmla="*/ 376280 w 1511300"/>
                <a:gd name="connsiteY128" fmla="*/ 1208875 h 1495425"/>
                <a:gd name="connsiteX129" fmla="*/ 376280 w 1511300"/>
                <a:gd name="connsiteY129" fmla="*/ 1175388 h 1495425"/>
                <a:gd name="connsiteX130" fmla="*/ 376280 w 1511300"/>
                <a:gd name="connsiteY130" fmla="*/ 1161850 h 1495425"/>
                <a:gd name="connsiteX131" fmla="*/ 360499 w 1511300"/>
                <a:gd name="connsiteY131" fmla="*/ 1146175 h 1495425"/>
                <a:gd name="connsiteX132" fmla="*/ 358347 w 1511300"/>
                <a:gd name="connsiteY132" fmla="*/ 1146175 h 1495425"/>
                <a:gd name="connsiteX133" fmla="*/ 342565 w 1511300"/>
                <a:gd name="connsiteY133" fmla="*/ 1146175 h 1495425"/>
                <a:gd name="connsiteX134" fmla="*/ 333240 w 1511300"/>
                <a:gd name="connsiteY134" fmla="*/ 1146175 h 1495425"/>
                <a:gd name="connsiteX135" fmla="*/ 81065 w 1511300"/>
                <a:gd name="connsiteY135" fmla="*/ 719138 h 1495425"/>
                <a:gd name="connsiteX136" fmla="*/ 74612 w 1511300"/>
                <a:gd name="connsiteY136" fmla="*/ 724853 h 1495425"/>
                <a:gd name="connsiteX137" fmla="*/ 74612 w 1511300"/>
                <a:gd name="connsiteY137" fmla="*/ 799148 h 1495425"/>
                <a:gd name="connsiteX138" fmla="*/ 81065 w 1511300"/>
                <a:gd name="connsiteY138" fmla="*/ 804863 h 1495425"/>
                <a:gd name="connsiteX139" fmla="*/ 112610 w 1511300"/>
                <a:gd name="connsiteY139" fmla="*/ 804863 h 1495425"/>
                <a:gd name="connsiteX140" fmla="*/ 119062 w 1511300"/>
                <a:gd name="connsiteY140" fmla="*/ 799148 h 1495425"/>
                <a:gd name="connsiteX141" fmla="*/ 119062 w 1511300"/>
                <a:gd name="connsiteY141" fmla="*/ 724853 h 1495425"/>
                <a:gd name="connsiteX142" fmla="*/ 112610 w 1511300"/>
                <a:gd name="connsiteY142" fmla="*/ 719138 h 1495425"/>
                <a:gd name="connsiteX143" fmla="*/ 81065 w 1511300"/>
                <a:gd name="connsiteY143" fmla="*/ 719138 h 1495425"/>
                <a:gd name="connsiteX144" fmla="*/ 134209 w 1511300"/>
                <a:gd name="connsiteY144" fmla="*/ 684213 h 1495425"/>
                <a:gd name="connsiteX145" fmla="*/ 128587 w 1511300"/>
                <a:gd name="connsiteY145" fmla="*/ 689993 h 1495425"/>
                <a:gd name="connsiteX146" fmla="*/ 128587 w 1511300"/>
                <a:gd name="connsiteY146" fmla="*/ 799083 h 1495425"/>
                <a:gd name="connsiteX147" fmla="*/ 134209 w 1511300"/>
                <a:gd name="connsiteY147" fmla="*/ 804863 h 1495425"/>
                <a:gd name="connsiteX148" fmla="*/ 165829 w 1511300"/>
                <a:gd name="connsiteY148" fmla="*/ 804863 h 1495425"/>
                <a:gd name="connsiteX149" fmla="*/ 171450 w 1511300"/>
                <a:gd name="connsiteY149" fmla="*/ 799083 h 1495425"/>
                <a:gd name="connsiteX150" fmla="*/ 171450 w 1511300"/>
                <a:gd name="connsiteY150" fmla="*/ 689993 h 1495425"/>
                <a:gd name="connsiteX151" fmla="*/ 165829 w 1511300"/>
                <a:gd name="connsiteY151" fmla="*/ 684213 h 1495425"/>
                <a:gd name="connsiteX152" fmla="*/ 134209 w 1511300"/>
                <a:gd name="connsiteY152" fmla="*/ 684213 h 1495425"/>
                <a:gd name="connsiteX153" fmla="*/ 1281112 w 1511300"/>
                <a:gd name="connsiteY153" fmla="*/ 660400 h 1495425"/>
                <a:gd name="connsiteX154" fmla="*/ 1323975 w 1511300"/>
                <a:gd name="connsiteY154" fmla="*/ 736600 h 1495425"/>
                <a:gd name="connsiteX155" fmla="*/ 1309687 w 1511300"/>
                <a:gd name="connsiteY155" fmla="*/ 736600 h 1495425"/>
                <a:gd name="connsiteX156" fmla="*/ 1309687 w 1511300"/>
                <a:gd name="connsiteY156" fmla="*/ 739775 h 1495425"/>
                <a:gd name="connsiteX157" fmla="*/ 1309687 w 1511300"/>
                <a:gd name="connsiteY157" fmla="*/ 760413 h 1495425"/>
                <a:gd name="connsiteX158" fmla="*/ 1338262 w 1511300"/>
                <a:gd name="connsiteY158" fmla="*/ 760413 h 1495425"/>
                <a:gd name="connsiteX159" fmla="*/ 1339850 w 1511300"/>
                <a:gd name="connsiteY159" fmla="*/ 765175 h 1495425"/>
                <a:gd name="connsiteX160" fmla="*/ 1339850 w 1511300"/>
                <a:gd name="connsiteY160" fmla="*/ 771525 h 1495425"/>
                <a:gd name="connsiteX161" fmla="*/ 1339850 w 1511300"/>
                <a:gd name="connsiteY161" fmla="*/ 774700 h 1495425"/>
                <a:gd name="connsiteX162" fmla="*/ 1309687 w 1511300"/>
                <a:gd name="connsiteY162" fmla="*/ 774700 h 1495425"/>
                <a:gd name="connsiteX163" fmla="*/ 1309687 w 1511300"/>
                <a:gd name="connsiteY163" fmla="*/ 798513 h 1495425"/>
                <a:gd name="connsiteX164" fmla="*/ 1339850 w 1511300"/>
                <a:gd name="connsiteY164" fmla="*/ 798513 h 1495425"/>
                <a:gd name="connsiteX165" fmla="*/ 1339850 w 1511300"/>
                <a:gd name="connsiteY165" fmla="*/ 838200 h 1495425"/>
                <a:gd name="connsiteX166" fmla="*/ 1371600 w 1511300"/>
                <a:gd name="connsiteY166" fmla="*/ 838200 h 1495425"/>
                <a:gd name="connsiteX167" fmla="*/ 1371600 w 1511300"/>
                <a:gd name="connsiteY167" fmla="*/ 798513 h 1495425"/>
                <a:gd name="connsiteX168" fmla="*/ 1403350 w 1511300"/>
                <a:gd name="connsiteY168" fmla="*/ 798513 h 1495425"/>
                <a:gd name="connsiteX169" fmla="*/ 1403350 w 1511300"/>
                <a:gd name="connsiteY169" fmla="*/ 774700 h 1495425"/>
                <a:gd name="connsiteX170" fmla="*/ 1371600 w 1511300"/>
                <a:gd name="connsiteY170" fmla="*/ 774700 h 1495425"/>
                <a:gd name="connsiteX171" fmla="*/ 1371600 w 1511300"/>
                <a:gd name="connsiteY171" fmla="*/ 765175 h 1495425"/>
                <a:gd name="connsiteX172" fmla="*/ 1374775 w 1511300"/>
                <a:gd name="connsiteY172" fmla="*/ 760413 h 1495425"/>
                <a:gd name="connsiteX173" fmla="*/ 1403350 w 1511300"/>
                <a:gd name="connsiteY173" fmla="*/ 760413 h 1495425"/>
                <a:gd name="connsiteX174" fmla="*/ 1403350 w 1511300"/>
                <a:gd name="connsiteY174" fmla="*/ 736600 h 1495425"/>
                <a:gd name="connsiteX175" fmla="*/ 1387475 w 1511300"/>
                <a:gd name="connsiteY175" fmla="*/ 736600 h 1495425"/>
                <a:gd name="connsiteX176" fmla="*/ 1431925 w 1511300"/>
                <a:gd name="connsiteY176" fmla="*/ 660400 h 1495425"/>
                <a:gd name="connsiteX177" fmla="*/ 1398587 w 1511300"/>
                <a:gd name="connsiteY177" fmla="*/ 660400 h 1495425"/>
                <a:gd name="connsiteX178" fmla="*/ 1355725 w 1511300"/>
                <a:gd name="connsiteY178" fmla="*/ 736600 h 1495425"/>
                <a:gd name="connsiteX179" fmla="*/ 1314450 w 1511300"/>
                <a:gd name="connsiteY179" fmla="*/ 660400 h 1495425"/>
                <a:gd name="connsiteX180" fmla="*/ 188298 w 1511300"/>
                <a:gd name="connsiteY180" fmla="*/ 647700 h 1495425"/>
                <a:gd name="connsiteX181" fmla="*/ 182562 w 1511300"/>
                <a:gd name="connsiteY181" fmla="*/ 654129 h 1495425"/>
                <a:gd name="connsiteX182" fmla="*/ 182562 w 1511300"/>
                <a:gd name="connsiteY182" fmla="*/ 799147 h 1495425"/>
                <a:gd name="connsiteX183" fmla="*/ 188298 w 1511300"/>
                <a:gd name="connsiteY183" fmla="*/ 804862 h 1495425"/>
                <a:gd name="connsiteX184" fmla="*/ 220560 w 1511300"/>
                <a:gd name="connsiteY184" fmla="*/ 804862 h 1495425"/>
                <a:gd name="connsiteX185" fmla="*/ 227012 w 1511300"/>
                <a:gd name="connsiteY185" fmla="*/ 799147 h 1495425"/>
                <a:gd name="connsiteX186" fmla="*/ 227012 w 1511300"/>
                <a:gd name="connsiteY186" fmla="*/ 720566 h 1495425"/>
                <a:gd name="connsiteX187" fmla="*/ 227012 w 1511300"/>
                <a:gd name="connsiteY187" fmla="*/ 689134 h 1495425"/>
                <a:gd name="connsiteX188" fmla="*/ 227012 w 1511300"/>
                <a:gd name="connsiteY188" fmla="*/ 654129 h 1495425"/>
                <a:gd name="connsiteX189" fmla="*/ 220560 w 1511300"/>
                <a:gd name="connsiteY189" fmla="*/ 647700 h 1495425"/>
                <a:gd name="connsiteX190" fmla="*/ 188298 w 1511300"/>
                <a:gd name="connsiteY190" fmla="*/ 647700 h 1495425"/>
                <a:gd name="connsiteX191" fmla="*/ 242159 w 1511300"/>
                <a:gd name="connsiteY191" fmla="*/ 598488 h 1495425"/>
                <a:gd name="connsiteX192" fmla="*/ 236537 w 1511300"/>
                <a:gd name="connsiteY192" fmla="*/ 604937 h 1495425"/>
                <a:gd name="connsiteX193" fmla="*/ 236537 w 1511300"/>
                <a:gd name="connsiteY193" fmla="*/ 689494 h 1495425"/>
                <a:gd name="connsiteX194" fmla="*/ 236537 w 1511300"/>
                <a:gd name="connsiteY194" fmla="*/ 721023 h 1495425"/>
                <a:gd name="connsiteX195" fmla="*/ 236537 w 1511300"/>
                <a:gd name="connsiteY195" fmla="*/ 799130 h 1495425"/>
                <a:gd name="connsiteX196" fmla="*/ 242159 w 1511300"/>
                <a:gd name="connsiteY196" fmla="*/ 804863 h 1495425"/>
                <a:gd name="connsiteX197" fmla="*/ 273779 w 1511300"/>
                <a:gd name="connsiteY197" fmla="*/ 804863 h 1495425"/>
                <a:gd name="connsiteX198" fmla="*/ 279400 w 1511300"/>
                <a:gd name="connsiteY198" fmla="*/ 799130 h 1495425"/>
                <a:gd name="connsiteX199" fmla="*/ 279400 w 1511300"/>
                <a:gd name="connsiteY199" fmla="*/ 724606 h 1495425"/>
                <a:gd name="connsiteX200" fmla="*/ 279400 w 1511300"/>
                <a:gd name="connsiteY200" fmla="*/ 693077 h 1495425"/>
                <a:gd name="connsiteX201" fmla="*/ 279400 w 1511300"/>
                <a:gd name="connsiteY201" fmla="*/ 604937 h 1495425"/>
                <a:gd name="connsiteX202" fmla="*/ 273779 w 1511300"/>
                <a:gd name="connsiteY202" fmla="*/ 598488 h 1495425"/>
                <a:gd name="connsiteX203" fmla="*/ 242159 w 1511300"/>
                <a:gd name="connsiteY203" fmla="*/ 598488 h 1495425"/>
                <a:gd name="connsiteX204" fmla="*/ 765175 w 1511300"/>
                <a:gd name="connsiteY204" fmla="*/ 531813 h 1495425"/>
                <a:gd name="connsiteX205" fmla="*/ 687966 w 1511300"/>
                <a:gd name="connsiteY205" fmla="*/ 546111 h 1495425"/>
                <a:gd name="connsiteX206" fmla="*/ 659370 w 1511300"/>
                <a:gd name="connsiteY206" fmla="*/ 559694 h 1495425"/>
                <a:gd name="connsiteX207" fmla="*/ 552135 w 1511300"/>
                <a:gd name="connsiteY207" fmla="*/ 714828 h 1495425"/>
                <a:gd name="connsiteX208" fmla="*/ 549990 w 1511300"/>
                <a:gd name="connsiteY208" fmla="*/ 746283 h 1495425"/>
                <a:gd name="connsiteX209" fmla="*/ 549275 w 1511300"/>
                <a:gd name="connsiteY209" fmla="*/ 747713 h 1495425"/>
                <a:gd name="connsiteX210" fmla="*/ 622195 w 1511300"/>
                <a:gd name="connsiteY210" fmla="*/ 908566 h 1495425"/>
                <a:gd name="connsiteX211" fmla="*/ 646502 w 1511300"/>
                <a:gd name="connsiteY211" fmla="*/ 927868 h 1495425"/>
                <a:gd name="connsiteX212" fmla="*/ 765175 w 1511300"/>
                <a:gd name="connsiteY212" fmla="*/ 963613 h 1495425"/>
                <a:gd name="connsiteX213" fmla="*/ 879559 w 1511300"/>
                <a:gd name="connsiteY213" fmla="*/ 930728 h 1495425"/>
                <a:gd name="connsiteX214" fmla="*/ 905296 w 1511300"/>
                <a:gd name="connsiteY214" fmla="*/ 912140 h 1495425"/>
                <a:gd name="connsiteX215" fmla="*/ 980360 w 1511300"/>
                <a:gd name="connsiteY215" fmla="*/ 766301 h 1495425"/>
                <a:gd name="connsiteX216" fmla="*/ 981075 w 1511300"/>
                <a:gd name="connsiteY216" fmla="*/ 747713 h 1495425"/>
                <a:gd name="connsiteX217" fmla="*/ 981075 w 1511300"/>
                <a:gd name="connsiteY217" fmla="*/ 734845 h 1495425"/>
                <a:gd name="connsiteX218" fmla="*/ 916019 w 1511300"/>
                <a:gd name="connsiteY218" fmla="*/ 593295 h 1495425"/>
                <a:gd name="connsiteX219" fmla="*/ 891713 w 1511300"/>
                <a:gd name="connsiteY219" fmla="*/ 572562 h 1495425"/>
                <a:gd name="connsiteX220" fmla="*/ 765175 w 1511300"/>
                <a:gd name="connsiteY220" fmla="*/ 531813 h 1495425"/>
                <a:gd name="connsiteX221" fmla="*/ 1193721 w 1511300"/>
                <a:gd name="connsiteY221" fmla="*/ 107950 h 1495425"/>
                <a:gd name="connsiteX222" fmla="*/ 1107282 w 1511300"/>
                <a:gd name="connsiteY222" fmla="*/ 162772 h 1495425"/>
                <a:gd name="connsiteX223" fmla="*/ 1138000 w 1511300"/>
                <a:gd name="connsiteY223" fmla="*/ 271703 h 1495425"/>
                <a:gd name="connsiteX224" fmla="*/ 1138000 w 1511300"/>
                <a:gd name="connsiteY224" fmla="*/ 279535 h 1495425"/>
                <a:gd name="connsiteX225" fmla="*/ 1138000 w 1511300"/>
                <a:gd name="connsiteY225" fmla="*/ 323677 h 1495425"/>
                <a:gd name="connsiteX226" fmla="*/ 1138714 w 1511300"/>
                <a:gd name="connsiteY226" fmla="*/ 327237 h 1495425"/>
                <a:gd name="connsiteX227" fmla="*/ 1140857 w 1511300"/>
                <a:gd name="connsiteY227" fmla="*/ 328661 h 1495425"/>
                <a:gd name="connsiteX228" fmla="*/ 1223725 w 1511300"/>
                <a:gd name="connsiteY228" fmla="*/ 342900 h 1495425"/>
                <a:gd name="connsiteX229" fmla="*/ 1228726 w 1511300"/>
                <a:gd name="connsiteY229" fmla="*/ 337916 h 1495425"/>
                <a:gd name="connsiteX230" fmla="*/ 1228726 w 1511300"/>
                <a:gd name="connsiteY230" fmla="*/ 302318 h 1495425"/>
                <a:gd name="connsiteX231" fmla="*/ 1270874 w 1511300"/>
                <a:gd name="connsiteY231" fmla="*/ 299470 h 1495425"/>
                <a:gd name="connsiteX232" fmla="*/ 1278017 w 1511300"/>
                <a:gd name="connsiteY232" fmla="*/ 276687 h 1495425"/>
                <a:gd name="connsiteX233" fmla="*/ 1278017 w 1511300"/>
                <a:gd name="connsiteY233" fmla="*/ 275263 h 1495425"/>
                <a:gd name="connsiteX234" fmla="*/ 1276589 w 1511300"/>
                <a:gd name="connsiteY234" fmla="*/ 246784 h 1495425"/>
                <a:gd name="connsiteX235" fmla="*/ 1298020 w 1511300"/>
                <a:gd name="connsiteY235" fmla="*/ 235393 h 1495425"/>
                <a:gd name="connsiteX236" fmla="*/ 1288019 w 1511300"/>
                <a:gd name="connsiteY236" fmla="*/ 216881 h 1495425"/>
                <a:gd name="connsiteX237" fmla="*/ 1286590 w 1511300"/>
                <a:gd name="connsiteY237" fmla="*/ 214746 h 1495425"/>
                <a:gd name="connsiteX238" fmla="*/ 1277303 w 1511300"/>
                <a:gd name="connsiteY238" fmla="*/ 196946 h 1495425"/>
                <a:gd name="connsiteX239" fmla="*/ 1275160 w 1511300"/>
                <a:gd name="connsiteY239" fmla="*/ 188403 h 1495425"/>
                <a:gd name="connsiteX240" fmla="*/ 1272302 w 1511300"/>
                <a:gd name="connsiteY240" fmla="*/ 175587 h 1495425"/>
                <a:gd name="connsiteX241" fmla="*/ 1269445 w 1511300"/>
                <a:gd name="connsiteY241" fmla="*/ 151380 h 1495425"/>
                <a:gd name="connsiteX242" fmla="*/ 1271588 w 1511300"/>
                <a:gd name="connsiteY242" fmla="*/ 152092 h 1495425"/>
                <a:gd name="connsiteX243" fmla="*/ 1272302 w 1511300"/>
                <a:gd name="connsiteY243" fmla="*/ 151380 h 1495425"/>
                <a:gd name="connsiteX244" fmla="*/ 1286590 w 1511300"/>
                <a:gd name="connsiteY244" fmla="*/ 120766 h 1495425"/>
                <a:gd name="connsiteX245" fmla="*/ 1193721 w 1511300"/>
                <a:gd name="connsiteY245" fmla="*/ 107950 h 1495425"/>
                <a:gd name="connsiteX246" fmla="*/ 487804 w 1511300"/>
                <a:gd name="connsiteY246" fmla="*/ 53975 h 1495425"/>
                <a:gd name="connsiteX247" fmla="*/ 487804 w 1511300"/>
                <a:gd name="connsiteY247" fmla="*/ 79096 h 1495425"/>
                <a:gd name="connsiteX248" fmla="*/ 455739 w 1511300"/>
                <a:gd name="connsiteY248" fmla="*/ 99194 h 1495425"/>
                <a:gd name="connsiteX249" fmla="*/ 443625 w 1511300"/>
                <a:gd name="connsiteY249" fmla="*/ 133646 h 1495425"/>
                <a:gd name="connsiteX250" fmla="*/ 447900 w 1511300"/>
                <a:gd name="connsiteY250" fmla="*/ 157332 h 1495425"/>
                <a:gd name="connsiteX251" fmla="*/ 460727 w 1511300"/>
                <a:gd name="connsiteY251" fmla="*/ 175993 h 1495425"/>
                <a:gd name="connsiteX252" fmla="*/ 486379 w 1511300"/>
                <a:gd name="connsiteY252" fmla="*/ 192501 h 1495425"/>
                <a:gd name="connsiteX253" fmla="*/ 492080 w 1511300"/>
                <a:gd name="connsiteY253" fmla="*/ 195372 h 1495425"/>
                <a:gd name="connsiteX254" fmla="*/ 523433 w 1511300"/>
                <a:gd name="connsiteY254" fmla="*/ 217623 h 1495425"/>
                <a:gd name="connsiteX255" fmla="*/ 531984 w 1511300"/>
                <a:gd name="connsiteY255" fmla="*/ 238438 h 1495425"/>
                <a:gd name="connsiteX256" fmla="*/ 517733 w 1511300"/>
                <a:gd name="connsiteY256" fmla="*/ 258535 h 1495425"/>
                <a:gd name="connsiteX257" fmla="*/ 499206 w 1511300"/>
                <a:gd name="connsiteY257" fmla="*/ 260688 h 1495425"/>
                <a:gd name="connsiteX258" fmla="*/ 456451 w 1511300"/>
                <a:gd name="connsiteY258" fmla="*/ 245615 h 1495425"/>
                <a:gd name="connsiteX259" fmla="*/ 442912 w 1511300"/>
                <a:gd name="connsiteY259" fmla="*/ 279349 h 1495425"/>
                <a:gd name="connsiteX260" fmla="*/ 487804 w 1511300"/>
                <a:gd name="connsiteY260" fmla="*/ 293705 h 1495425"/>
                <a:gd name="connsiteX261" fmla="*/ 487804 w 1511300"/>
                <a:gd name="connsiteY261" fmla="*/ 323850 h 1495425"/>
                <a:gd name="connsiteX262" fmla="*/ 520583 w 1511300"/>
                <a:gd name="connsiteY262" fmla="*/ 323850 h 1495425"/>
                <a:gd name="connsiteX263" fmla="*/ 520583 w 1511300"/>
                <a:gd name="connsiteY263" fmla="*/ 290834 h 1495425"/>
                <a:gd name="connsiteX264" fmla="*/ 531271 w 1511300"/>
                <a:gd name="connsiteY264" fmla="*/ 287962 h 1495425"/>
                <a:gd name="connsiteX265" fmla="*/ 555499 w 1511300"/>
                <a:gd name="connsiteY265" fmla="*/ 270736 h 1495425"/>
                <a:gd name="connsiteX266" fmla="*/ 556924 w 1511300"/>
                <a:gd name="connsiteY266" fmla="*/ 269301 h 1495425"/>
                <a:gd name="connsiteX267" fmla="*/ 568325 w 1511300"/>
                <a:gd name="connsiteY267" fmla="*/ 235567 h 1495425"/>
                <a:gd name="connsiteX268" fmla="*/ 563337 w 1511300"/>
                <a:gd name="connsiteY268" fmla="*/ 210445 h 1495425"/>
                <a:gd name="connsiteX269" fmla="*/ 549798 w 1511300"/>
                <a:gd name="connsiteY269" fmla="*/ 189630 h 1495425"/>
                <a:gd name="connsiteX270" fmla="*/ 519870 w 1511300"/>
                <a:gd name="connsiteY270" fmla="*/ 170969 h 1495425"/>
                <a:gd name="connsiteX271" fmla="*/ 479966 w 1511300"/>
                <a:gd name="connsiteY271" fmla="*/ 133646 h 1495425"/>
                <a:gd name="connsiteX272" fmla="*/ 487092 w 1511300"/>
                <a:gd name="connsiteY272" fmla="*/ 116420 h 1495425"/>
                <a:gd name="connsiteX273" fmla="*/ 507044 w 1511300"/>
                <a:gd name="connsiteY273" fmla="*/ 109242 h 1495425"/>
                <a:gd name="connsiteX274" fmla="*/ 547661 w 1511300"/>
                <a:gd name="connsiteY274" fmla="*/ 122879 h 1495425"/>
                <a:gd name="connsiteX275" fmla="*/ 559062 w 1511300"/>
                <a:gd name="connsiteY275" fmla="*/ 90581 h 1495425"/>
                <a:gd name="connsiteX276" fmla="*/ 520583 w 1511300"/>
                <a:gd name="connsiteY276" fmla="*/ 77661 h 1495425"/>
                <a:gd name="connsiteX277" fmla="*/ 520583 w 1511300"/>
                <a:gd name="connsiteY277" fmla="*/ 53975 h 1495425"/>
                <a:gd name="connsiteX278" fmla="*/ 487804 w 1511300"/>
                <a:gd name="connsiteY278" fmla="*/ 53975 h 1495425"/>
                <a:gd name="connsiteX279" fmla="*/ 505435 w 1511300"/>
                <a:gd name="connsiteY279" fmla="*/ 0 h 1495425"/>
                <a:gd name="connsiteX280" fmla="*/ 694169 w 1511300"/>
                <a:gd name="connsiteY280" fmla="*/ 188715 h 1495425"/>
                <a:gd name="connsiteX281" fmla="*/ 596942 w 1511300"/>
                <a:gd name="connsiteY281" fmla="*/ 353841 h 1495425"/>
                <a:gd name="connsiteX282" fmla="*/ 674152 w 1511300"/>
                <a:gd name="connsiteY282" fmla="*/ 517537 h 1495425"/>
                <a:gd name="connsiteX283" fmla="*/ 764944 w 1511300"/>
                <a:gd name="connsiteY283" fmla="*/ 500381 h 1495425"/>
                <a:gd name="connsiteX284" fmla="*/ 912213 w 1511300"/>
                <a:gd name="connsiteY284" fmla="*/ 548990 h 1495425"/>
                <a:gd name="connsiteX285" fmla="*/ 1080930 w 1511300"/>
                <a:gd name="connsiteY285" fmla="*/ 348122 h 1495425"/>
                <a:gd name="connsiteX286" fmla="*/ 1029457 w 1511300"/>
                <a:gd name="connsiteY286" fmla="*/ 225172 h 1495425"/>
                <a:gd name="connsiteX287" fmla="*/ 1200318 w 1511300"/>
                <a:gd name="connsiteY287" fmla="*/ 54327 h 1495425"/>
                <a:gd name="connsiteX288" fmla="*/ 1371180 w 1511300"/>
                <a:gd name="connsiteY288" fmla="*/ 225172 h 1495425"/>
                <a:gd name="connsiteX289" fmla="*/ 1200318 w 1511300"/>
                <a:gd name="connsiteY289" fmla="*/ 396016 h 1495425"/>
                <a:gd name="connsiteX290" fmla="*/ 1105952 w 1511300"/>
                <a:gd name="connsiteY290" fmla="*/ 367423 h 1495425"/>
                <a:gd name="connsiteX291" fmla="*/ 935805 w 1511300"/>
                <a:gd name="connsiteY291" fmla="*/ 569005 h 1495425"/>
                <a:gd name="connsiteX292" fmla="*/ 1012300 w 1511300"/>
                <a:gd name="connsiteY292" fmla="*/ 734846 h 1495425"/>
                <a:gd name="connsiteX293" fmla="*/ 1201033 w 1511300"/>
                <a:gd name="connsiteY293" fmla="*/ 737705 h 1495425"/>
                <a:gd name="connsiteX294" fmla="*/ 1356166 w 1511300"/>
                <a:gd name="connsiteY294" fmla="*/ 585446 h 1495425"/>
                <a:gd name="connsiteX295" fmla="*/ 1511300 w 1511300"/>
                <a:gd name="connsiteY295" fmla="*/ 740564 h 1495425"/>
                <a:gd name="connsiteX296" fmla="*/ 1356166 w 1511300"/>
                <a:gd name="connsiteY296" fmla="*/ 895683 h 1495425"/>
                <a:gd name="connsiteX297" fmla="*/ 1203893 w 1511300"/>
                <a:gd name="connsiteY297" fmla="*/ 769158 h 1495425"/>
                <a:gd name="connsiteX298" fmla="*/ 1011585 w 1511300"/>
                <a:gd name="connsiteY298" fmla="*/ 766298 h 1495425"/>
                <a:gd name="connsiteX299" fmla="*/ 923652 w 1511300"/>
                <a:gd name="connsiteY299" fmla="*/ 937858 h 1495425"/>
                <a:gd name="connsiteX300" fmla="*/ 1036606 w 1511300"/>
                <a:gd name="connsiteY300" fmla="*/ 1092976 h 1495425"/>
                <a:gd name="connsiteX301" fmla="*/ 1150990 w 1511300"/>
                <a:gd name="connsiteY301" fmla="*/ 1060094 h 1495425"/>
                <a:gd name="connsiteX302" fmla="*/ 1368320 w 1511300"/>
                <a:gd name="connsiteY302" fmla="*/ 1277402 h 1495425"/>
                <a:gd name="connsiteX303" fmla="*/ 1150990 w 1511300"/>
                <a:gd name="connsiteY303" fmla="*/ 1494710 h 1495425"/>
                <a:gd name="connsiteX304" fmla="*/ 933660 w 1511300"/>
                <a:gd name="connsiteY304" fmla="*/ 1277402 h 1495425"/>
                <a:gd name="connsiteX305" fmla="*/ 1011585 w 1511300"/>
                <a:gd name="connsiteY305" fmla="*/ 1110846 h 1495425"/>
                <a:gd name="connsiteX306" fmla="*/ 897915 w 1511300"/>
                <a:gd name="connsiteY306" fmla="*/ 956443 h 1495425"/>
                <a:gd name="connsiteX307" fmla="*/ 764944 w 1511300"/>
                <a:gd name="connsiteY307" fmla="*/ 995044 h 1495425"/>
                <a:gd name="connsiteX308" fmla="*/ 626968 w 1511300"/>
                <a:gd name="connsiteY308" fmla="*/ 952869 h 1495425"/>
                <a:gd name="connsiteX309" fmla="*/ 481843 w 1511300"/>
                <a:gd name="connsiteY309" fmla="*/ 1142299 h 1495425"/>
                <a:gd name="connsiteX310" fmla="*/ 549044 w 1511300"/>
                <a:gd name="connsiteY310" fmla="*/ 1293128 h 1495425"/>
                <a:gd name="connsiteX311" fmla="*/ 346727 w 1511300"/>
                <a:gd name="connsiteY311" fmla="*/ 1495425 h 1495425"/>
                <a:gd name="connsiteX312" fmla="*/ 144410 w 1511300"/>
                <a:gd name="connsiteY312" fmla="*/ 1293128 h 1495425"/>
                <a:gd name="connsiteX313" fmla="*/ 346727 w 1511300"/>
                <a:gd name="connsiteY313" fmla="*/ 1090831 h 1495425"/>
                <a:gd name="connsiteX314" fmla="*/ 456822 w 1511300"/>
                <a:gd name="connsiteY314" fmla="*/ 1122999 h 1495425"/>
                <a:gd name="connsiteX315" fmla="*/ 602661 w 1511300"/>
                <a:gd name="connsiteY315" fmla="*/ 933569 h 1495425"/>
                <a:gd name="connsiteX316" fmla="*/ 517588 w 1511300"/>
                <a:gd name="connsiteY316" fmla="*/ 747713 h 1495425"/>
                <a:gd name="connsiteX317" fmla="*/ 518303 w 1511300"/>
                <a:gd name="connsiteY317" fmla="*/ 743424 h 1495425"/>
                <a:gd name="connsiteX318" fmla="*/ 369604 w 1511300"/>
                <a:gd name="connsiteY318" fmla="*/ 731272 h 1495425"/>
                <a:gd name="connsiteX319" fmla="*/ 185874 w 1511300"/>
                <a:gd name="connsiteY319" fmla="*/ 887819 h 1495425"/>
                <a:gd name="connsiteX320" fmla="*/ 0 w 1511300"/>
                <a:gd name="connsiteY320" fmla="*/ 701249 h 1495425"/>
                <a:gd name="connsiteX321" fmla="*/ 185874 w 1511300"/>
                <a:gd name="connsiteY321" fmla="*/ 515393 h 1495425"/>
                <a:gd name="connsiteX322" fmla="*/ 371749 w 1511300"/>
                <a:gd name="connsiteY322" fmla="*/ 700534 h 1495425"/>
                <a:gd name="connsiteX323" fmla="*/ 520448 w 1511300"/>
                <a:gd name="connsiteY323" fmla="*/ 711971 h 1495425"/>
                <a:gd name="connsiteX324" fmla="*/ 645556 w 1511300"/>
                <a:gd name="connsiteY324" fmla="*/ 531119 h 1495425"/>
                <a:gd name="connsiteX325" fmla="*/ 568346 w 1511300"/>
                <a:gd name="connsiteY325" fmla="*/ 366708 h 1495425"/>
                <a:gd name="connsiteX326" fmla="*/ 505435 w 1511300"/>
                <a:gd name="connsiteY326" fmla="*/ 377431 h 1495425"/>
                <a:gd name="connsiteX327" fmla="*/ 316701 w 1511300"/>
                <a:gd name="connsiteY327" fmla="*/ 188715 h 1495425"/>
                <a:gd name="connsiteX328" fmla="*/ 505435 w 1511300"/>
                <a:gd name="connsiteY328" fmla="*/ 0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1511300" h="1495425">
                  <a:moveTo>
                    <a:pt x="1091572" y="1350963"/>
                  </a:moveTo>
                  <a:cubicBezTo>
                    <a:pt x="1091572" y="1350963"/>
                    <a:pt x="1091572" y="1350963"/>
                    <a:pt x="1210303" y="1350963"/>
                  </a:cubicBezTo>
                  <a:cubicBezTo>
                    <a:pt x="1213880" y="1350963"/>
                    <a:pt x="1216025" y="1353741"/>
                    <a:pt x="1216025" y="1356519"/>
                  </a:cubicBezTo>
                  <a:cubicBezTo>
                    <a:pt x="1216025" y="1359992"/>
                    <a:pt x="1213880" y="1362075"/>
                    <a:pt x="1210303" y="1362075"/>
                  </a:cubicBezTo>
                  <a:cubicBezTo>
                    <a:pt x="1210303" y="1362075"/>
                    <a:pt x="1210303" y="1362075"/>
                    <a:pt x="1091572" y="1362075"/>
                  </a:cubicBezTo>
                  <a:cubicBezTo>
                    <a:pt x="1088711" y="1362075"/>
                    <a:pt x="1085850" y="1359992"/>
                    <a:pt x="1085850" y="1356519"/>
                  </a:cubicBezTo>
                  <a:cubicBezTo>
                    <a:pt x="1085850" y="1353741"/>
                    <a:pt x="1088711" y="1350963"/>
                    <a:pt x="1091572" y="1350963"/>
                  </a:cubicBezTo>
                  <a:close/>
                  <a:moveTo>
                    <a:pt x="344378" y="1285875"/>
                  </a:moveTo>
                  <a:cubicBezTo>
                    <a:pt x="344378" y="1285875"/>
                    <a:pt x="344378" y="1285875"/>
                    <a:pt x="348648" y="1285875"/>
                  </a:cubicBezTo>
                  <a:cubicBezTo>
                    <a:pt x="349359" y="1285875"/>
                    <a:pt x="350071" y="1285875"/>
                    <a:pt x="350783" y="1286597"/>
                  </a:cubicBezTo>
                  <a:cubicBezTo>
                    <a:pt x="350783" y="1286597"/>
                    <a:pt x="350783" y="1286597"/>
                    <a:pt x="372844" y="1296699"/>
                  </a:cubicBezTo>
                  <a:lnTo>
                    <a:pt x="382807" y="1301750"/>
                  </a:lnTo>
                  <a:cubicBezTo>
                    <a:pt x="382807" y="1301750"/>
                    <a:pt x="382807" y="1301750"/>
                    <a:pt x="413407" y="1316182"/>
                  </a:cubicBezTo>
                  <a:cubicBezTo>
                    <a:pt x="416965" y="1318347"/>
                    <a:pt x="419100" y="1323398"/>
                    <a:pt x="417677" y="1327727"/>
                  </a:cubicBezTo>
                  <a:cubicBezTo>
                    <a:pt x="416254" y="1331335"/>
                    <a:pt x="413407" y="1333500"/>
                    <a:pt x="410561" y="1333500"/>
                  </a:cubicBezTo>
                  <a:cubicBezTo>
                    <a:pt x="409137" y="1333500"/>
                    <a:pt x="408426" y="1332779"/>
                    <a:pt x="407002" y="1332779"/>
                  </a:cubicBezTo>
                  <a:cubicBezTo>
                    <a:pt x="407002" y="1332779"/>
                    <a:pt x="407002" y="1332779"/>
                    <a:pt x="383518" y="1321233"/>
                  </a:cubicBezTo>
                  <a:cubicBezTo>
                    <a:pt x="383518" y="1321233"/>
                    <a:pt x="383518" y="1321233"/>
                    <a:pt x="373555" y="1316182"/>
                  </a:cubicBezTo>
                  <a:cubicBezTo>
                    <a:pt x="373555" y="1316182"/>
                    <a:pt x="373555" y="1316182"/>
                    <a:pt x="349359" y="1304636"/>
                  </a:cubicBezTo>
                  <a:cubicBezTo>
                    <a:pt x="349359" y="1304636"/>
                    <a:pt x="349359" y="1304636"/>
                    <a:pt x="346513" y="1303193"/>
                  </a:cubicBezTo>
                  <a:cubicBezTo>
                    <a:pt x="346513" y="1303193"/>
                    <a:pt x="346513" y="1303193"/>
                    <a:pt x="286023" y="1332779"/>
                  </a:cubicBezTo>
                  <a:cubicBezTo>
                    <a:pt x="284600" y="1332779"/>
                    <a:pt x="283889" y="1333500"/>
                    <a:pt x="282465" y="1333500"/>
                  </a:cubicBezTo>
                  <a:cubicBezTo>
                    <a:pt x="279619" y="1333500"/>
                    <a:pt x="276772" y="1331335"/>
                    <a:pt x="275349" y="1327727"/>
                  </a:cubicBezTo>
                  <a:cubicBezTo>
                    <a:pt x="274637" y="1325563"/>
                    <a:pt x="274637" y="1323398"/>
                    <a:pt x="275349" y="1321233"/>
                  </a:cubicBezTo>
                  <a:cubicBezTo>
                    <a:pt x="276061" y="1319068"/>
                    <a:pt x="277484" y="1316904"/>
                    <a:pt x="279619" y="1316182"/>
                  </a:cubicBezTo>
                  <a:cubicBezTo>
                    <a:pt x="279619" y="1316182"/>
                    <a:pt x="279619" y="1316182"/>
                    <a:pt x="342243" y="1286597"/>
                  </a:cubicBezTo>
                  <a:cubicBezTo>
                    <a:pt x="342955" y="1285875"/>
                    <a:pt x="343666" y="1285875"/>
                    <a:pt x="344378" y="1285875"/>
                  </a:cubicBezTo>
                  <a:close/>
                  <a:moveTo>
                    <a:pt x="1185465" y="1253126"/>
                  </a:moveTo>
                  <a:cubicBezTo>
                    <a:pt x="1187608" y="1250950"/>
                    <a:pt x="1191895" y="1250950"/>
                    <a:pt x="1194038" y="1253126"/>
                  </a:cubicBezTo>
                  <a:cubicBezTo>
                    <a:pt x="1201896" y="1261104"/>
                    <a:pt x="1209040" y="1268358"/>
                    <a:pt x="1216183" y="1275611"/>
                  </a:cubicBezTo>
                  <a:cubicBezTo>
                    <a:pt x="1216898" y="1277061"/>
                    <a:pt x="1217612" y="1278512"/>
                    <a:pt x="1217612" y="1279963"/>
                  </a:cubicBezTo>
                  <a:cubicBezTo>
                    <a:pt x="1217612" y="1281413"/>
                    <a:pt x="1216898" y="1283589"/>
                    <a:pt x="1216183" y="1284315"/>
                  </a:cubicBezTo>
                  <a:cubicBezTo>
                    <a:pt x="1213326" y="1287216"/>
                    <a:pt x="1209754" y="1286491"/>
                    <a:pt x="1206897" y="1284315"/>
                  </a:cubicBezTo>
                  <a:cubicBezTo>
                    <a:pt x="1204753" y="1282139"/>
                    <a:pt x="1202610" y="1279237"/>
                    <a:pt x="1199753" y="1277061"/>
                  </a:cubicBezTo>
                  <a:cubicBezTo>
                    <a:pt x="1199753" y="1277061"/>
                    <a:pt x="1199753" y="1277061"/>
                    <a:pt x="1196181" y="1273435"/>
                  </a:cubicBezTo>
                  <a:lnTo>
                    <a:pt x="1196181" y="1274885"/>
                  </a:lnTo>
                  <a:cubicBezTo>
                    <a:pt x="1196181" y="1288667"/>
                    <a:pt x="1196181" y="1311877"/>
                    <a:pt x="1196181" y="1324933"/>
                  </a:cubicBezTo>
                  <a:cubicBezTo>
                    <a:pt x="1196181" y="1324933"/>
                    <a:pt x="1196181" y="1324933"/>
                    <a:pt x="1196181" y="1328559"/>
                  </a:cubicBezTo>
                  <a:cubicBezTo>
                    <a:pt x="1196181" y="1332186"/>
                    <a:pt x="1193323" y="1335087"/>
                    <a:pt x="1189752" y="1335087"/>
                  </a:cubicBezTo>
                  <a:cubicBezTo>
                    <a:pt x="1186180" y="1335087"/>
                    <a:pt x="1183322" y="1332186"/>
                    <a:pt x="1183322" y="1328559"/>
                  </a:cubicBezTo>
                  <a:cubicBezTo>
                    <a:pt x="1183322" y="1328559"/>
                    <a:pt x="1183322" y="1328559"/>
                    <a:pt x="1183322" y="1272709"/>
                  </a:cubicBezTo>
                  <a:cubicBezTo>
                    <a:pt x="1183322" y="1272709"/>
                    <a:pt x="1183322" y="1272709"/>
                    <a:pt x="1174750" y="1281413"/>
                  </a:cubicBezTo>
                  <a:cubicBezTo>
                    <a:pt x="1174035" y="1282139"/>
                    <a:pt x="1173321" y="1283589"/>
                    <a:pt x="1172607" y="1284315"/>
                  </a:cubicBezTo>
                  <a:cubicBezTo>
                    <a:pt x="1169749" y="1287216"/>
                    <a:pt x="1166177" y="1287216"/>
                    <a:pt x="1163320" y="1284315"/>
                  </a:cubicBezTo>
                  <a:cubicBezTo>
                    <a:pt x="1160462" y="1282139"/>
                    <a:pt x="1160462" y="1277787"/>
                    <a:pt x="1163320" y="1275611"/>
                  </a:cubicBezTo>
                  <a:cubicBezTo>
                    <a:pt x="1167606" y="1270533"/>
                    <a:pt x="1171892" y="1266182"/>
                    <a:pt x="1176178" y="1261830"/>
                  </a:cubicBezTo>
                  <a:cubicBezTo>
                    <a:pt x="1176178" y="1261830"/>
                    <a:pt x="1176178" y="1261830"/>
                    <a:pt x="1182608" y="1256027"/>
                  </a:cubicBezTo>
                  <a:cubicBezTo>
                    <a:pt x="1183322" y="1255302"/>
                    <a:pt x="1184037" y="1253851"/>
                    <a:pt x="1185465" y="1253126"/>
                  </a:cubicBezTo>
                  <a:close/>
                  <a:moveTo>
                    <a:pt x="1114266" y="1251675"/>
                  </a:moveTo>
                  <a:cubicBezTo>
                    <a:pt x="1115695" y="1251675"/>
                    <a:pt x="1116409" y="1252401"/>
                    <a:pt x="1117838" y="1253126"/>
                  </a:cubicBezTo>
                  <a:cubicBezTo>
                    <a:pt x="1124982" y="1261104"/>
                    <a:pt x="1132125" y="1268358"/>
                    <a:pt x="1139269" y="1275611"/>
                  </a:cubicBezTo>
                  <a:cubicBezTo>
                    <a:pt x="1140698" y="1277061"/>
                    <a:pt x="1141412" y="1278512"/>
                    <a:pt x="1141412" y="1279963"/>
                  </a:cubicBezTo>
                  <a:cubicBezTo>
                    <a:pt x="1141412" y="1280688"/>
                    <a:pt x="1140698" y="1282139"/>
                    <a:pt x="1140698" y="1282864"/>
                  </a:cubicBezTo>
                  <a:cubicBezTo>
                    <a:pt x="1139983" y="1283589"/>
                    <a:pt x="1139983" y="1284315"/>
                    <a:pt x="1139269" y="1284315"/>
                  </a:cubicBezTo>
                  <a:cubicBezTo>
                    <a:pt x="1137126" y="1287216"/>
                    <a:pt x="1132840" y="1286491"/>
                    <a:pt x="1130697" y="1284315"/>
                  </a:cubicBezTo>
                  <a:cubicBezTo>
                    <a:pt x="1127839" y="1282139"/>
                    <a:pt x="1125696" y="1279237"/>
                    <a:pt x="1123553" y="1277061"/>
                  </a:cubicBezTo>
                  <a:cubicBezTo>
                    <a:pt x="1123553" y="1277061"/>
                    <a:pt x="1123553" y="1277061"/>
                    <a:pt x="1119981" y="1273435"/>
                  </a:cubicBezTo>
                  <a:cubicBezTo>
                    <a:pt x="1119267" y="1273435"/>
                    <a:pt x="1119267" y="1273435"/>
                    <a:pt x="1119267" y="1272709"/>
                  </a:cubicBezTo>
                  <a:cubicBezTo>
                    <a:pt x="1119267" y="1272709"/>
                    <a:pt x="1119267" y="1272709"/>
                    <a:pt x="1119267" y="1274885"/>
                  </a:cubicBezTo>
                  <a:cubicBezTo>
                    <a:pt x="1119267" y="1288667"/>
                    <a:pt x="1119267" y="1311877"/>
                    <a:pt x="1119267" y="1324933"/>
                  </a:cubicBezTo>
                  <a:cubicBezTo>
                    <a:pt x="1119267" y="1324933"/>
                    <a:pt x="1119267" y="1324933"/>
                    <a:pt x="1119267" y="1328559"/>
                  </a:cubicBezTo>
                  <a:cubicBezTo>
                    <a:pt x="1119267" y="1332186"/>
                    <a:pt x="1116409" y="1335087"/>
                    <a:pt x="1112837" y="1335087"/>
                  </a:cubicBezTo>
                  <a:cubicBezTo>
                    <a:pt x="1109980" y="1335087"/>
                    <a:pt x="1107122" y="1332186"/>
                    <a:pt x="1107122" y="1328559"/>
                  </a:cubicBezTo>
                  <a:cubicBezTo>
                    <a:pt x="1107122" y="1328559"/>
                    <a:pt x="1107122" y="1328559"/>
                    <a:pt x="1107122" y="1272709"/>
                  </a:cubicBezTo>
                  <a:cubicBezTo>
                    <a:pt x="1107122" y="1272709"/>
                    <a:pt x="1107122" y="1272709"/>
                    <a:pt x="1098550" y="1281413"/>
                  </a:cubicBezTo>
                  <a:cubicBezTo>
                    <a:pt x="1097835" y="1282139"/>
                    <a:pt x="1096407" y="1283589"/>
                    <a:pt x="1095692" y="1284315"/>
                  </a:cubicBezTo>
                  <a:cubicBezTo>
                    <a:pt x="1092835" y="1287216"/>
                    <a:pt x="1089263" y="1287216"/>
                    <a:pt x="1087120" y="1284315"/>
                  </a:cubicBezTo>
                  <a:cubicBezTo>
                    <a:pt x="1084262" y="1282139"/>
                    <a:pt x="1084262" y="1277787"/>
                    <a:pt x="1087120" y="1275611"/>
                  </a:cubicBezTo>
                  <a:cubicBezTo>
                    <a:pt x="1091406" y="1270533"/>
                    <a:pt x="1095692" y="1266182"/>
                    <a:pt x="1099978" y="1261830"/>
                  </a:cubicBezTo>
                  <a:cubicBezTo>
                    <a:pt x="1099978" y="1261830"/>
                    <a:pt x="1099978" y="1261830"/>
                    <a:pt x="1105693" y="1256027"/>
                  </a:cubicBezTo>
                  <a:cubicBezTo>
                    <a:pt x="1107122" y="1255302"/>
                    <a:pt x="1107837" y="1253851"/>
                    <a:pt x="1108551" y="1253126"/>
                  </a:cubicBezTo>
                  <a:cubicBezTo>
                    <a:pt x="1109980" y="1251675"/>
                    <a:pt x="1112123" y="1250950"/>
                    <a:pt x="1114266" y="1251675"/>
                  </a:cubicBezTo>
                  <a:close/>
                  <a:moveTo>
                    <a:pt x="1119187" y="1173163"/>
                  </a:moveTo>
                  <a:cubicBezTo>
                    <a:pt x="1119187" y="1184093"/>
                    <a:pt x="1119187" y="1195024"/>
                    <a:pt x="1119187" y="1205225"/>
                  </a:cubicBezTo>
                  <a:cubicBezTo>
                    <a:pt x="1119187" y="1209598"/>
                    <a:pt x="1119187" y="1213241"/>
                    <a:pt x="1119187" y="1217613"/>
                  </a:cubicBezTo>
                  <a:cubicBezTo>
                    <a:pt x="1122017" y="1217613"/>
                    <a:pt x="1124847" y="1217613"/>
                    <a:pt x="1128384" y="1217613"/>
                  </a:cubicBezTo>
                  <a:cubicBezTo>
                    <a:pt x="1146779" y="1217613"/>
                    <a:pt x="1165173" y="1217613"/>
                    <a:pt x="1184275" y="1217613"/>
                  </a:cubicBezTo>
                  <a:cubicBezTo>
                    <a:pt x="1184275" y="1203039"/>
                    <a:pt x="1184275" y="1188466"/>
                    <a:pt x="1184275" y="1173163"/>
                  </a:cubicBezTo>
                  <a:cubicBezTo>
                    <a:pt x="1162343" y="1173163"/>
                    <a:pt x="1141119" y="1173163"/>
                    <a:pt x="1119187" y="1173163"/>
                  </a:cubicBezTo>
                  <a:close/>
                  <a:moveTo>
                    <a:pt x="1014648" y="1173163"/>
                  </a:moveTo>
                  <a:cubicBezTo>
                    <a:pt x="1011792" y="1173163"/>
                    <a:pt x="1009650" y="1176022"/>
                    <a:pt x="1009650" y="1178880"/>
                  </a:cubicBezTo>
                  <a:cubicBezTo>
                    <a:pt x="1009650" y="1206036"/>
                    <a:pt x="1009650" y="1333955"/>
                    <a:pt x="1009650" y="1390411"/>
                  </a:cubicBezTo>
                  <a:cubicBezTo>
                    <a:pt x="1009650" y="1393269"/>
                    <a:pt x="1011792" y="1395413"/>
                    <a:pt x="1014648" y="1395413"/>
                  </a:cubicBezTo>
                  <a:cubicBezTo>
                    <a:pt x="1106037" y="1395413"/>
                    <a:pt x="1197426" y="1395413"/>
                    <a:pt x="1288815" y="1395413"/>
                  </a:cubicBezTo>
                  <a:cubicBezTo>
                    <a:pt x="1291671" y="1395413"/>
                    <a:pt x="1293813" y="1393269"/>
                    <a:pt x="1293813" y="1390411"/>
                  </a:cubicBezTo>
                  <a:cubicBezTo>
                    <a:pt x="1293813" y="1387552"/>
                    <a:pt x="1293813" y="1384694"/>
                    <a:pt x="1293813" y="1381121"/>
                  </a:cubicBezTo>
                  <a:cubicBezTo>
                    <a:pt x="1293813" y="1381121"/>
                    <a:pt x="1293813" y="1381121"/>
                    <a:pt x="1293813" y="1343960"/>
                  </a:cubicBezTo>
                  <a:cubicBezTo>
                    <a:pt x="1293813" y="1339672"/>
                    <a:pt x="1293813" y="1335384"/>
                    <a:pt x="1293813" y="1331096"/>
                  </a:cubicBezTo>
                  <a:cubicBezTo>
                    <a:pt x="1293813" y="1286075"/>
                    <a:pt x="1293813" y="1200319"/>
                    <a:pt x="1293813" y="1178880"/>
                  </a:cubicBezTo>
                  <a:cubicBezTo>
                    <a:pt x="1293813" y="1175307"/>
                    <a:pt x="1291671" y="1173163"/>
                    <a:pt x="1288815" y="1173163"/>
                  </a:cubicBezTo>
                  <a:cubicBezTo>
                    <a:pt x="1288815" y="1173163"/>
                    <a:pt x="1288815" y="1173163"/>
                    <a:pt x="1195998" y="1173163"/>
                  </a:cubicBezTo>
                  <a:cubicBezTo>
                    <a:pt x="1195998" y="1173163"/>
                    <a:pt x="1195998" y="1173163"/>
                    <a:pt x="1195998" y="1216756"/>
                  </a:cubicBezTo>
                  <a:cubicBezTo>
                    <a:pt x="1195998" y="1223187"/>
                    <a:pt x="1191000" y="1228190"/>
                    <a:pt x="1184575" y="1228190"/>
                  </a:cubicBezTo>
                  <a:cubicBezTo>
                    <a:pt x="1184575" y="1228190"/>
                    <a:pt x="1184575" y="1228190"/>
                    <a:pt x="1136024" y="1228190"/>
                  </a:cubicBezTo>
                  <a:cubicBezTo>
                    <a:pt x="1136024" y="1228190"/>
                    <a:pt x="1136024" y="1228190"/>
                    <a:pt x="1118889" y="1228190"/>
                  </a:cubicBezTo>
                  <a:cubicBezTo>
                    <a:pt x="1112463" y="1228190"/>
                    <a:pt x="1107465" y="1223187"/>
                    <a:pt x="1107465" y="1216756"/>
                  </a:cubicBezTo>
                  <a:cubicBezTo>
                    <a:pt x="1107465" y="1216756"/>
                    <a:pt x="1107465" y="1216756"/>
                    <a:pt x="1107465" y="1188885"/>
                  </a:cubicBezTo>
                  <a:cubicBezTo>
                    <a:pt x="1107465" y="1188885"/>
                    <a:pt x="1107465" y="1188885"/>
                    <a:pt x="1107465" y="1173163"/>
                  </a:cubicBezTo>
                  <a:lnTo>
                    <a:pt x="1096042" y="1173163"/>
                  </a:lnTo>
                  <a:cubicBezTo>
                    <a:pt x="1096042" y="1173163"/>
                    <a:pt x="1096042" y="1173163"/>
                    <a:pt x="1057487" y="1173163"/>
                  </a:cubicBezTo>
                  <a:cubicBezTo>
                    <a:pt x="1057487" y="1173163"/>
                    <a:pt x="1057487" y="1173163"/>
                    <a:pt x="1014648" y="1173163"/>
                  </a:cubicBezTo>
                  <a:close/>
                  <a:moveTo>
                    <a:pt x="333240" y="1146175"/>
                  </a:moveTo>
                  <a:cubicBezTo>
                    <a:pt x="324631" y="1146175"/>
                    <a:pt x="317458" y="1153300"/>
                    <a:pt x="317458" y="1161850"/>
                  </a:cubicBezTo>
                  <a:cubicBezTo>
                    <a:pt x="317458" y="1208875"/>
                    <a:pt x="317458" y="1208875"/>
                    <a:pt x="317458" y="1208875"/>
                  </a:cubicBezTo>
                  <a:cubicBezTo>
                    <a:pt x="262940" y="1208875"/>
                    <a:pt x="262940" y="1208875"/>
                    <a:pt x="262940" y="1208875"/>
                  </a:cubicBezTo>
                  <a:cubicBezTo>
                    <a:pt x="255049" y="1208875"/>
                    <a:pt x="248593" y="1215288"/>
                    <a:pt x="248593" y="1223125"/>
                  </a:cubicBezTo>
                  <a:cubicBezTo>
                    <a:pt x="248593" y="1263737"/>
                    <a:pt x="248593" y="1263737"/>
                    <a:pt x="248593" y="1263737"/>
                  </a:cubicBezTo>
                  <a:cubicBezTo>
                    <a:pt x="248593" y="1275137"/>
                    <a:pt x="248593" y="1275137"/>
                    <a:pt x="248593" y="1275137"/>
                  </a:cubicBezTo>
                  <a:cubicBezTo>
                    <a:pt x="248593" y="1284400"/>
                    <a:pt x="248593" y="1284400"/>
                    <a:pt x="248593" y="1284400"/>
                  </a:cubicBezTo>
                  <a:cubicBezTo>
                    <a:pt x="224920" y="1292950"/>
                    <a:pt x="224920" y="1292950"/>
                    <a:pt x="224920" y="1292950"/>
                  </a:cubicBezTo>
                  <a:cubicBezTo>
                    <a:pt x="224203" y="1295800"/>
                    <a:pt x="224203" y="1295800"/>
                    <a:pt x="224203" y="1295800"/>
                  </a:cubicBezTo>
                  <a:cubicBezTo>
                    <a:pt x="224203" y="1297937"/>
                    <a:pt x="218464" y="1337837"/>
                    <a:pt x="265092" y="1388425"/>
                  </a:cubicBezTo>
                  <a:cubicBezTo>
                    <a:pt x="227072" y="1388425"/>
                    <a:pt x="227072" y="1388425"/>
                    <a:pt x="227072" y="1388425"/>
                  </a:cubicBezTo>
                  <a:cubicBezTo>
                    <a:pt x="219181" y="1388425"/>
                    <a:pt x="212725" y="1394837"/>
                    <a:pt x="212725" y="1402675"/>
                  </a:cubicBezTo>
                  <a:cubicBezTo>
                    <a:pt x="212725" y="1410512"/>
                    <a:pt x="219181" y="1417637"/>
                    <a:pt x="227072" y="1417637"/>
                  </a:cubicBezTo>
                  <a:cubicBezTo>
                    <a:pt x="342565" y="1417637"/>
                    <a:pt x="342565" y="1417637"/>
                    <a:pt x="342565" y="1417637"/>
                  </a:cubicBezTo>
                  <a:cubicBezTo>
                    <a:pt x="358347" y="1417637"/>
                    <a:pt x="358347" y="1417637"/>
                    <a:pt x="358347" y="1417637"/>
                  </a:cubicBezTo>
                  <a:cubicBezTo>
                    <a:pt x="466666" y="1417637"/>
                    <a:pt x="466666" y="1417637"/>
                    <a:pt x="466666" y="1417637"/>
                  </a:cubicBezTo>
                  <a:cubicBezTo>
                    <a:pt x="474557" y="1417637"/>
                    <a:pt x="481013" y="1410512"/>
                    <a:pt x="481013" y="1402675"/>
                  </a:cubicBezTo>
                  <a:cubicBezTo>
                    <a:pt x="481013" y="1394837"/>
                    <a:pt x="474557" y="1388425"/>
                    <a:pt x="466666" y="1388425"/>
                  </a:cubicBezTo>
                  <a:cubicBezTo>
                    <a:pt x="427930" y="1388425"/>
                    <a:pt x="427930" y="1388425"/>
                    <a:pt x="427930" y="1388425"/>
                  </a:cubicBezTo>
                  <a:cubicBezTo>
                    <a:pt x="475274" y="1337837"/>
                    <a:pt x="469536" y="1297937"/>
                    <a:pt x="469536" y="1295800"/>
                  </a:cubicBezTo>
                  <a:cubicBezTo>
                    <a:pt x="468818" y="1292950"/>
                    <a:pt x="468818" y="1292950"/>
                    <a:pt x="468818" y="1292950"/>
                  </a:cubicBezTo>
                  <a:cubicBezTo>
                    <a:pt x="445146" y="1284400"/>
                    <a:pt x="445146" y="1284400"/>
                    <a:pt x="445146" y="1284400"/>
                  </a:cubicBezTo>
                  <a:cubicBezTo>
                    <a:pt x="445146" y="1223125"/>
                    <a:pt x="445146" y="1223125"/>
                    <a:pt x="445146" y="1223125"/>
                  </a:cubicBezTo>
                  <a:cubicBezTo>
                    <a:pt x="445146" y="1215288"/>
                    <a:pt x="438690" y="1208875"/>
                    <a:pt x="430799" y="1208875"/>
                  </a:cubicBezTo>
                  <a:cubicBezTo>
                    <a:pt x="408561" y="1208875"/>
                    <a:pt x="397084" y="1208875"/>
                    <a:pt x="390627" y="1208875"/>
                  </a:cubicBezTo>
                  <a:cubicBezTo>
                    <a:pt x="383454" y="1208875"/>
                    <a:pt x="383454" y="1208875"/>
                    <a:pt x="383454" y="1208875"/>
                  </a:cubicBezTo>
                  <a:cubicBezTo>
                    <a:pt x="376280" y="1208875"/>
                    <a:pt x="376280" y="1208875"/>
                    <a:pt x="376280" y="1208875"/>
                  </a:cubicBezTo>
                  <a:cubicBezTo>
                    <a:pt x="376280" y="1175388"/>
                    <a:pt x="376280" y="1175388"/>
                    <a:pt x="376280" y="1175388"/>
                  </a:cubicBezTo>
                  <a:cubicBezTo>
                    <a:pt x="376280" y="1161850"/>
                    <a:pt x="376280" y="1161850"/>
                    <a:pt x="376280" y="1161850"/>
                  </a:cubicBezTo>
                  <a:cubicBezTo>
                    <a:pt x="376280" y="1153300"/>
                    <a:pt x="369107" y="1146175"/>
                    <a:pt x="360499" y="1146175"/>
                  </a:cubicBezTo>
                  <a:cubicBezTo>
                    <a:pt x="358347" y="1146175"/>
                    <a:pt x="358347" y="1146175"/>
                    <a:pt x="358347" y="1146175"/>
                  </a:cubicBezTo>
                  <a:cubicBezTo>
                    <a:pt x="342565" y="1146175"/>
                    <a:pt x="342565" y="1146175"/>
                    <a:pt x="342565" y="1146175"/>
                  </a:cubicBezTo>
                  <a:cubicBezTo>
                    <a:pt x="333240" y="1146175"/>
                    <a:pt x="333240" y="1146175"/>
                    <a:pt x="333240" y="1146175"/>
                  </a:cubicBezTo>
                  <a:close/>
                  <a:moveTo>
                    <a:pt x="81065" y="719138"/>
                  </a:moveTo>
                  <a:cubicBezTo>
                    <a:pt x="77480" y="719138"/>
                    <a:pt x="74612" y="721996"/>
                    <a:pt x="74612" y="724853"/>
                  </a:cubicBezTo>
                  <a:cubicBezTo>
                    <a:pt x="74612" y="724853"/>
                    <a:pt x="74612" y="724853"/>
                    <a:pt x="74612" y="799148"/>
                  </a:cubicBezTo>
                  <a:cubicBezTo>
                    <a:pt x="74612" y="802720"/>
                    <a:pt x="77480" y="804863"/>
                    <a:pt x="81065" y="804863"/>
                  </a:cubicBezTo>
                  <a:cubicBezTo>
                    <a:pt x="81065" y="804863"/>
                    <a:pt x="81065" y="804863"/>
                    <a:pt x="112610" y="804863"/>
                  </a:cubicBezTo>
                  <a:cubicBezTo>
                    <a:pt x="116195" y="804863"/>
                    <a:pt x="119062" y="802720"/>
                    <a:pt x="119062" y="799148"/>
                  </a:cubicBezTo>
                  <a:cubicBezTo>
                    <a:pt x="119062" y="799148"/>
                    <a:pt x="119062" y="799148"/>
                    <a:pt x="119062" y="724853"/>
                  </a:cubicBezTo>
                  <a:cubicBezTo>
                    <a:pt x="119062" y="721996"/>
                    <a:pt x="116195" y="719138"/>
                    <a:pt x="112610" y="719138"/>
                  </a:cubicBezTo>
                  <a:cubicBezTo>
                    <a:pt x="112610" y="719138"/>
                    <a:pt x="112610" y="719138"/>
                    <a:pt x="81065" y="719138"/>
                  </a:cubicBezTo>
                  <a:close/>
                  <a:moveTo>
                    <a:pt x="134209" y="684213"/>
                  </a:moveTo>
                  <a:cubicBezTo>
                    <a:pt x="130695" y="684213"/>
                    <a:pt x="128587" y="687103"/>
                    <a:pt x="128587" y="689993"/>
                  </a:cubicBezTo>
                  <a:cubicBezTo>
                    <a:pt x="128587" y="799083"/>
                    <a:pt x="128587" y="799083"/>
                    <a:pt x="128587" y="799083"/>
                  </a:cubicBezTo>
                  <a:cubicBezTo>
                    <a:pt x="128587" y="802696"/>
                    <a:pt x="130695" y="804863"/>
                    <a:pt x="134209" y="804863"/>
                  </a:cubicBezTo>
                  <a:cubicBezTo>
                    <a:pt x="165829" y="804863"/>
                    <a:pt x="165829" y="804863"/>
                    <a:pt x="165829" y="804863"/>
                  </a:cubicBezTo>
                  <a:cubicBezTo>
                    <a:pt x="169342" y="804863"/>
                    <a:pt x="171450" y="802696"/>
                    <a:pt x="171450" y="799083"/>
                  </a:cubicBezTo>
                  <a:cubicBezTo>
                    <a:pt x="171450" y="689993"/>
                    <a:pt x="171450" y="689993"/>
                    <a:pt x="171450" y="689993"/>
                  </a:cubicBezTo>
                  <a:cubicBezTo>
                    <a:pt x="171450" y="687103"/>
                    <a:pt x="169342" y="684213"/>
                    <a:pt x="165829" y="684213"/>
                  </a:cubicBezTo>
                  <a:cubicBezTo>
                    <a:pt x="134209" y="684213"/>
                    <a:pt x="134209" y="684213"/>
                    <a:pt x="134209" y="684213"/>
                  </a:cubicBezTo>
                  <a:close/>
                  <a:moveTo>
                    <a:pt x="1281112" y="660400"/>
                  </a:moveTo>
                  <a:lnTo>
                    <a:pt x="1323975" y="736600"/>
                  </a:lnTo>
                  <a:lnTo>
                    <a:pt x="1309687" y="736600"/>
                  </a:lnTo>
                  <a:lnTo>
                    <a:pt x="1309687" y="739775"/>
                  </a:lnTo>
                  <a:lnTo>
                    <a:pt x="1309687" y="760413"/>
                  </a:lnTo>
                  <a:lnTo>
                    <a:pt x="1338262" y="760413"/>
                  </a:lnTo>
                  <a:lnTo>
                    <a:pt x="1339850" y="765175"/>
                  </a:lnTo>
                  <a:lnTo>
                    <a:pt x="1339850" y="771525"/>
                  </a:lnTo>
                  <a:lnTo>
                    <a:pt x="1339850" y="774700"/>
                  </a:lnTo>
                  <a:lnTo>
                    <a:pt x="1309687" y="774700"/>
                  </a:lnTo>
                  <a:lnTo>
                    <a:pt x="1309687" y="798513"/>
                  </a:lnTo>
                  <a:lnTo>
                    <a:pt x="1339850" y="798513"/>
                  </a:lnTo>
                  <a:lnTo>
                    <a:pt x="1339850" y="838200"/>
                  </a:lnTo>
                  <a:lnTo>
                    <a:pt x="1371600" y="838200"/>
                  </a:lnTo>
                  <a:lnTo>
                    <a:pt x="1371600" y="798513"/>
                  </a:lnTo>
                  <a:lnTo>
                    <a:pt x="1403350" y="798513"/>
                  </a:lnTo>
                  <a:lnTo>
                    <a:pt x="1403350" y="774700"/>
                  </a:lnTo>
                  <a:lnTo>
                    <a:pt x="1371600" y="774700"/>
                  </a:lnTo>
                  <a:lnTo>
                    <a:pt x="1371600" y="765175"/>
                  </a:lnTo>
                  <a:lnTo>
                    <a:pt x="1374775" y="760413"/>
                  </a:lnTo>
                  <a:lnTo>
                    <a:pt x="1403350" y="760413"/>
                  </a:lnTo>
                  <a:lnTo>
                    <a:pt x="1403350" y="736600"/>
                  </a:lnTo>
                  <a:lnTo>
                    <a:pt x="1387475" y="736600"/>
                  </a:lnTo>
                  <a:lnTo>
                    <a:pt x="1431925" y="660400"/>
                  </a:lnTo>
                  <a:lnTo>
                    <a:pt x="1398587" y="660400"/>
                  </a:lnTo>
                  <a:lnTo>
                    <a:pt x="1355725" y="736600"/>
                  </a:lnTo>
                  <a:lnTo>
                    <a:pt x="1314450" y="660400"/>
                  </a:lnTo>
                  <a:close/>
                  <a:moveTo>
                    <a:pt x="188298" y="647700"/>
                  </a:moveTo>
                  <a:cubicBezTo>
                    <a:pt x="185430" y="647700"/>
                    <a:pt x="182562" y="650558"/>
                    <a:pt x="182562" y="654129"/>
                  </a:cubicBezTo>
                  <a:cubicBezTo>
                    <a:pt x="182562" y="799147"/>
                    <a:pt x="182562" y="799147"/>
                    <a:pt x="182562" y="799147"/>
                  </a:cubicBezTo>
                  <a:cubicBezTo>
                    <a:pt x="182562" y="802719"/>
                    <a:pt x="185430" y="804862"/>
                    <a:pt x="188298" y="804862"/>
                  </a:cubicBezTo>
                  <a:cubicBezTo>
                    <a:pt x="220560" y="804862"/>
                    <a:pt x="220560" y="804862"/>
                    <a:pt x="220560" y="804862"/>
                  </a:cubicBezTo>
                  <a:cubicBezTo>
                    <a:pt x="224145" y="804862"/>
                    <a:pt x="227012" y="802719"/>
                    <a:pt x="227012" y="799147"/>
                  </a:cubicBezTo>
                  <a:cubicBezTo>
                    <a:pt x="227012" y="766286"/>
                    <a:pt x="227012" y="740569"/>
                    <a:pt x="227012" y="720566"/>
                  </a:cubicBezTo>
                  <a:cubicBezTo>
                    <a:pt x="227012" y="707707"/>
                    <a:pt x="227012" y="697706"/>
                    <a:pt x="227012" y="689134"/>
                  </a:cubicBezTo>
                  <a:cubicBezTo>
                    <a:pt x="227012" y="654129"/>
                    <a:pt x="227012" y="654129"/>
                    <a:pt x="227012" y="654129"/>
                  </a:cubicBezTo>
                  <a:cubicBezTo>
                    <a:pt x="227012" y="650558"/>
                    <a:pt x="224145" y="647700"/>
                    <a:pt x="220560" y="647700"/>
                  </a:cubicBezTo>
                  <a:cubicBezTo>
                    <a:pt x="188298" y="647700"/>
                    <a:pt x="188298" y="647700"/>
                    <a:pt x="188298" y="647700"/>
                  </a:cubicBezTo>
                  <a:close/>
                  <a:moveTo>
                    <a:pt x="242159" y="598488"/>
                  </a:moveTo>
                  <a:cubicBezTo>
                    <a:pt x="239348" y="598488"/>
                    <a:pt x="236537" y="601354"/>
                    <a:pt x="236537" y="604937"/>
                  </a:cubicBezTo>
                  <a:cubicBezTo>
                    <a:pt x="236537" y="638617"/>
                    <a:pt x="236537" y="666563"/>
                    <a:pt x="236537" y="689494"/>
                  </a:cubicBezTo>
                  <a:cubicBezTo>
                    <a:pt x="236537" y="701676"/>
                    <a:pt x="236537" y="711708"/>
                    <a:pt x="236537" y="721023"/>
                  </a:cubicBezTo>
                  <a:cubicBezTo>
                    <a:pt x="236537" y="799130"/>
                    <a:pt x="236537" y="799130"/>
                    <a:pt x="236537" y="799130"/>
                  </a:cubicBezTo>
                  <a:cubicBezTo>
                    <a:pt x="236537" y="802713"/>
                    <a:pt x="239348" y="804863"/>
                    <a:pt x="242159" y="804863"/>
                  </a:cubicBezTo>
                  <a:cubicBezTo>
                    <a:pt x="273779" y="804863"/>
                    <a:pt x="273779" y="804863"/>
                    <a:pt x="273779" y="804863"/>
                  </a:cubicBezTo>
                  <a:cubicBezTo>
                    <a:pt x="277292" y="804863"/>
                    <a:pt x="279400" y="802713"/>
                    <a:pt x="279400" y="799130"/>
                  </a:cubicBezTo>
                  <a:cubicBezTo>
                    <a:pt x="279400" y="770467"/>
                    <a:pt x="279400" y="746104"/>
                    <a:pt x="279400" y="724606"/>
                  </a:cubicBezTo>
                  <a:cubicBezTo>
                    <a:pt x="279400" y="713141"/>
                    <a:pt x="279400" y="702392"/>
                    <a:pt x="279400" y="693077"/>
                  </a:cubicBezTo>
                  <a:cubicBezTo>
                    <a:pt x="279400" y="604937"/>
                    <a:pt x="279400" y="604937"/>
                    <a:pt x="279400" y="604937"/>
                  </a:cubicBezTo>
                  <a:cubicBezTo>
                    <a:pt x="279400" y="601354"/>
                    <a:pt x="277292" y="598488"/>
                    <a:pt x="273779" y="598488"/>
                  </a:cubicBezTo>
                  <a:cubicBezTo>
                    <a:pt x="242159" y="598488"/>
                    <a:pt x="242159" y="598488"/>
                    <a:pt x="242159" y="598488"/>
                  </a:cubicBezTo>
                  <a:close/>
                  <a:moveTo>
                    <a:pt x="765175" y="531813"/>
                  </a:moveTo>
                  <a:cubicBezTo>
                    <a:pt x="738009" y="531813"/>
                    <a:pt x="712273" y="536817"/>
                    <a:pt x="687966" y="546111"/>
                  </a:cubicBezTo>
                  <a:cubicBezTo>
                    <a:pt x="677957" y="549686"/>
                    <a:pt x="668664" y="554690"/>
                    <a:pt x="659370" y="559694"/>
                  </a:cubicBezTo>
                  <a:cubicBezTo>
                    <a:pt x="602893" y="591865"/>
                    <a:pt x="562143" y="648342"/>
                    <a:pt x="552135" y="714828"/>
                  </a:cubicBezTo>
                  <a:cubicBezTo>
                    <a:pt x="550705" y="724836"/>
                    <a:pt x="549990" y="735560"/>
                    <a:pt x="549990" y="746283"/>
                  </a:cubicBezTo>
                  <a:cubicBezTo>
                    <a:pt x="549990" y="746283"/>
                    <a:pt x="549275" y="746998"/>
                    <a:pt x="549275" y="747713"/>
                  </a:cubicBezTo>
                  <a:cubicBezTo>
                    <a:pt x="549275" y="811339"/>
                    <a:pt x="577871" y="869246"/>
                    <a:pt x="622195" y="908566"/>
                  </a:cubicBezTo>
                  <a:cubicBezTo>
                    <a:pt x="629344" y="915715"/>
                    <a:pt x="637923" y="922149"/>
                    <a:pt x="646502" y="927868"/>
                  </a:cubicBezTo>
                  <a:cubicBezTo>
                    <a:pt x="680817" y="950030"/>
                    <a:pt x="721566" y="963613"/>
                    <a:pt x="765175" y="963613"/>
                  </a:cubicBezTo>
                  <a:cubicBezTo>
                    <a:pt x="807354" y="963613"/>
                    <a:pt x="846674" y="951460"/>
                    <a:pt x="879559" y="930728"/>
                  </a:cubicBezTo>
                  <a:cubicBezTo>
                    <a:pt x="888853" y="925009"/>
                    <a:pt x="896717" y="918574"/>
                    <a:pt x="905296" y="912140"/>
                  </a:cubicBezTo>
                  <a:cubicBezTo>
                    <a:pt x="947475" y="876395"/>
                    <a:pt x="975356" y="824208"/>
                    <a:pt x="980360" y="766301"/>
                  </a:cubicBezTo>
                  <a:cubicBezTo>
                    <a:pt x="981075" y="759866"/>
                    <a:pt x="981075" y="754147"/>
                    <a:pt x="981075" y="747713"/>
                  </a:cubicBezTo>
                  <a:cubicBezTo>
                    <a:pt x="981075" y="743424"/>
                    <a:pt x="981075" y="739134"/>
                    <a:pt x="981075" y="734845"/>
                  </a:cubicBezTo>
                  <a:cubicBezTo>
                    <a:pt x="977501" y="679083"/>
                    <a:pt x="953194" y="629755"/>
                    <a:pt x="916019" y="593295"/>
                  </a:cubicBezTo>
                  <a:cubicBezTo>
                    <a:pt x="908155" y="586146"/>
                    <a:pt x="900291" y="578997"/>
                    <a:pt x="891713" y="572562"/>
                  </a:cubicBezTo>
                  <a:cubicBezTo>
                    <a:pt x="856683" y="546826"/>
                    <a:pt x="812359" y="531813"/>
                    <a:pt x="765175" y="531813"/>
                  </a:cubicBezTo>
                  <a:close/>
                  <a:moveTo>
                    <a:pt x="1193721" y="107950"/>
                  </a:moveTo>
                  <a:cubicBezTo>
                    <a:pt x="1144429" y="107950"/>
                    <a:pt x="1119426" y="137141"/>
                    <a:pt x="1107282" y="162772"/>
                  </a:cubicBezTo>
                  <a:cubicBezTo>
                    <a:pt x="1085850" y="208338"/>
                    <a:pt x="1120855" y="253904"/>
                    <a:pt x="1138000" y="271703"/>
                  </a:cubicBezTo>
                  <a:cubicBezTo>
                    <a:pt x="1138000" y="274551"/>
                    <a:pt x="1138000" y="276687"/>
                    <a:pt x="1138000" y="279535"/>
                  </a:cubicBezTo>
                  <a:cubicBezTo>
                    <a:pt x="1138000" y="323677"/>
                    <a:pt x="1138000" y="323677"/>
                    <a:pt x="1138000" y="323677"/>
                  </a:cubicBezTo>
                  <a:cubicBezTo>
                    <a:pt x="1138000" y="325101"/>
                    <a:pt x="1138714" y="325813"/>
                    <a:pt x="1138714" y="327237"/>
                  </a:cubicBezTo>
                  <a:cubicBezTo>
                    <a:pt x="1139428" y="327949"/>
                    <a:pt x="1140143" y="328661"/>
                    <a:pt x="1140857" y="328661"/>
                  </a:cubicBezTo>
                  <a:cubicBezTo>
                    <a:pt x="1175862" y="342900"/>
                    <a:pt x="1220153" y="342900"/>
                    <a:pt x="1223725" y="342900"/>
                  </a:cubicBezTo>
                  <a:cubicBezTo>
                    <a:pt x="1226582" y="342900"/>
                    <a:pt x="1228726" y="340764"/>
                    <a:pt x="1228726" y="337916"/>
                  </a:cubicBezTo>
                  <a:cubicBezTo>
                    <a:pt x="1228726" y="302318"/>
                    <a:pt x="1228726" y="302318"/>
                    <a:pt x="1228726" y="302318"/>
                  </a:cubicBezTo>
                  <a:cubicBezTo>
                    <a:pt x="1250157" y="304454"/>
                    <a:pt x="1266587" y="302318"/>
                    <a:pt x="1270874" y="299470"/>
                  </a:cubicBezTo>
                  <a:cubicBezTo>
                    <a:pt x="1276589" y="296622"/>
                    <a:pt x="1277303" y="289502"/>
                    <a:pt x="1278017" y="276687"/>
                  </a:cubicBezTo>
                  <a:cubicBezTo>
                    <a:pt x="1278017" y="275263"/>
                    <a:pt x="1278017" y="275263"/>
                    <a:pt x="1278017" y="275263"/>
                  </a:cubicBezTo>
                  <a:cubicBezTo>
                    <a:pt x="1278732" y="266719"/>
                    <a:pt x="1277303" y="253904"/>
                    <a:pt x="1276589" y="246784"/>
                  </a:cubicBezTo>
                  <a:cubicBezTo>
                    <a:pt x="1292305" y="246072"/>
                    <a:pt x="1297306" y="238241"/>
                    <a:pt x="1298020" y="235393"/>
                  </a:cubicBezTo>
                  <a:cubicBezTo>
                    <a:pt x="1300163" y="228985"/>
                    <a:pt x="1294448" y="223289"/>
                    <a:pt x="1288019" y="216881"/>
                  </a:cubicBezTo>
                  <a:cubicBezTo>
                    <a:pt x="1287304" y="216170"/>
                    <a:pt x="1286590" y="215458"/>
                    <a:pt x="1286590" y="214746"/>
                  </a:cubicBezTo>
                  <a:cubicBezTo>
                    <a:pt x="1283732" y="211898"/>
                    <a:pt x="1280875" y="205490"/>
                    <a:pt x="1277303" y="196946"/>
                  </a:cubicBezTo>
                  <a:cubicBezTo>
                    <a:pt x="1277303" y="195522"/>
                    <a:pt x="1276589" y="191963"/>
                    <a:pt x="1275160" y="188403"/>
                  </a:cubicBezTo>
                  <a:cubicBezTo>
                    <a:pt x="1274445" y="184131"/>
                    <a:pt x="1273731" y="179147"/>
                    <a:pt x="1272302" y="175587"/>
                  </a:cubicBezTo>
                  <a:cubicBezTo>
                    <a:pt x="1270874" y="170603"/>
                    <a:pt x="1269445" y="157788"/>
                    <a:pt x="1269445" y="151380"/>
                  </a:cubicBezTo>
                  <a:cubicBezTo>
                    <a:pt x="1270159" y="150668"/>
                    <a:pt x="1271588" y="152092"/>
                    <a:pt x="1271588" y="152092"/>
                  </a:cubicBezTo>
                  <a:cubicBezTo>
                    <a:pt x="1272302" y="151380"/>
                    <a:pt x="1272302" y="151380"/>
                    <a:pt x="1272302" y="151380"/>
                  </a:cubicBezTo>
                  <a:cubicBezTo>
                    <a:pt x="1275160" y="139277"/>
                    <a:pt x="1292305" y="120766"/>
                    <a:pt x="1286590" y="120766"/>
                  </a:cubicBezTo>
                  <a:cubicBezTo>
                    <a:pt x="1234440" y="122190"/>
                    <a:pt x="1250871" y="107950"/>
                    <a:pt x="1193721" y="107950"/>
                  </a:cubicBezTo>
                  <a:close/>
                  <a:moveTo>
                    <a:pt x="487804" y="53975"/>
                  </a:moveTo>
                  <a:cubicBezTo>
                    <a:pt x="487804" y="53975"/>
                    <a:pt x="487804" y="53975"/>
                    <a:pt x="487804" y="79096"/>
                  </a:cubicBezTo>
                  <a:cubicBezTo>
                    <a:pt x="474265" y="82685"/>
                    <a:pt x="463577" y="89145"/>
                    <a:pt x="455739" y="99194"/>
                  </a:cubicBezTo>
                  <a:cubicBezTo>
                    <a:pt x="447188" y="109242"/>
                    <a:pt x="443625" y="120726"/>
                    <a:pt x="443625" y="133646"/>
                  </a:cubicBezTo>
                  <a:cubicBezTo>
                    <a:pt x="443625" y="142259"/>
                    <a:pt x="444337" y="150872"/>
                    <a:pt x="447900" y="157332"/>
                  </a:cubicBezTo>
                  <a:cubicBezTo>
                    <a:pt x="450751" y="164509"/>
                    <a:pt x="455026" y="170969"/>
                    <a:pt x="460727" y="175993"/>
                  </a:cubicBezTo>
                  <a:cubicBezTo>
                    <a:pt x="465715" y="180300"/>
                    <a:pt x="474265" y="186042"/>
                    <a:pt x="486379" y="192501"/>
                  </a:cubicBezTo>
                  <a:cubicBezTo>
                    <a:pt x="488517" y="193219"/>
                    <a:pt x="489942" y="194655"/>
                    <a:pt x="492080" y="195372"/>
                  </a:cubicBezTo>
                  <a:cubicBezTo>
                    <a:pt x="507044" y="203268"/>
                    <a:pt x="518445" y="210445"/>
                    <a:pt x="523433" y="217623"/>
                  </a:cubicBezTo>
                  <a:cubicBezTo>
                    <a:pt x="529134" y="224083"/>
                    <a:pt x="531984" y="231260"/>
                    <a:pt x="531984" y="238438"/>
                  </a:cubicBezTo>
                  <a:cubicBezTo>
                    <a:pt x="531984" y="248486"/>
                    <a:pt x="526996" y="254946"/>
                    <a:pt x="517733" y="258535"/>
                  </a:cubicBezTo>
                  <a:cubicBezTo>
                    <a:pt x="512744" y="259970"/>
                    <a:pt x="506331" y="260688"/>
                    <a:pt x="499206" y="260688"/>
                  </a:cubicBezTo>
                  <a:cubicBezTo>
                    <a:pt x="484954" y="260688"/>
                    <a:pt x="471415" y="256381"/>
                    <a:pt x="456451" y="245615"/>
                  </a:cubicBezTo>
                  <a:cubicBezTo>
                    <a:pt x="456451" y="245615"/>
                    <a:pt x="456451" y="245615"/>
                    <a:pt x="442912" y="279349"/>
                  </a:cubicBezTo>
                  <a:cubicBezTo>
                    <a:pt x="456451" y="287962"/>
                    <a:pt x="471415" y="292987"/>
                    <a:pt x="487804" y="293705"/>
                  </a:cubicBezTo>
                  <a:cubicBezTo>
                    <a:pt x="487804" y="293705"/>
                    <a:pt x="487804" y="293705"/>
                    <a:pt x="487804" y="323850"/>
                  </a:cubicBezTo>
                  <a:cubicBezTo>
                    <a:pt x="487804" y="323850"/>
                    <a:pt x="487804" y="323850"/>
                    <a:pt x="520583" y="323850"/>
                  </a:cubicBezTo>
                  <a:cubicBezTo>
                    <a:pt x="520583" y="323850"/>
                    <a:pt x="520583" y="323850"/>
                    <a:pt x="520583" y="290834"/>
                  </a:cubicBezTo>
                  <a:cubicBezTo>
                    <a:pt x="524146" y="290116"/>
                    <a:pt x="527709" y="288680"/>
                    <a:pt x="531271" y="287962"/>
                  </a:cubicBezTo>
                  <a:cubicBezTo>
                    <a:pt x="541247" y="283656"/>
                    <a:pt x="549086" y="277914"/>
                    <a:pt x="555499" y="270736"/>
                  </a:cubicBezTo>
                  <a:cubicBezTo>
                    <a:pt x="556211" y="270019"/>
                    <a:pt x="556211" y="269301"/>
                    <a:pt x="556924" y="269301"/>
                  </a:cubicBezTo>
                  <a:cubicBezTo>
                    <a:pt x="564762" y="259252"/>
                    <a:pt x="568325" y="248486"/>
                    <a:pt x="568325" y="235567"/>
                  </a:cubicBezTo>
                  <a:cubicBezTo>
                    <a:pt x="568325" y="226236"/>
                    <a:pt x="566900" y="217623"/>
                    <a:pt x="563337" y="210445"/>
                  </a:cubicBezTo>
                  <a:cubicBezTo>
                    <a:pt x="560487" y="202550"/>
                    <a:pt x="555499" y="195372"/>
                    <a:pt x="549798" y="189630"/>
                  </a:cubicBezTo>
                  <a:cubicBezTo>
                    <a:pt x="543385" y="183888"/>
                    <a:pt x="533409" y="178146"/>
                    <a:pt x="519870" y="170969"/>
                  </a:cubicBezTo>
                  <a:cubicBezTo>
                    <a:pt x="493505" y="157332"/>
                    <a:pt x="479966" y="145847"/>
                    <a:pt x="479966" y="133646"/>
                  </a:cubicBezTo>
                  <a:cubicBezTo>
                    <a:pt x="479966" y="126468"/>
                    <a:pt x="482816" y="120726"/>
                    <a:pt x="487092" y="116420"/>
                  </a:cubicBezTo>
                  <a:cubicBezTo>
                    <a:pt x="491367" y="111395"/>
                    <a:pt x="498493" y="109242"/>
                    <a:pt x="507044" y="109242"/>
                  </a:cubicBezTo>
                  <a:cubicBezTo>
                    <a:pt x="521295" y="109242"/>
                    <a:pt x="534834" y="113549"/>
                    <a:pt x="547661" y="122879"/>
                  </a:cubicBezTo>
                  <a:cubicBezTo>
                    <a:pt x="547661" y="122879"/>
                    <a:pt x="547661" y="122879"/>
                    <a:pt x="559062" y="90581"/>
                  </a:cubicBezTo>
                  <a:cubicBezTo>
                    <a:pt x="550511" y="84121"/>
                    <a:pt x="537685" y="79814"/>
                    <a:pt x="520583" y="77661"/>
                  </a:cubicBezTo>
                  <a:cubicBezTo>
                    <a:pt x="520583" y="77661"/>
                    <a:pt x="520583" y="77661"/>
                    <a:pt x="520583" y="53975"/>
                  </a:cubicBezTo>
                  <a:cubicBezTo>
                    <a:pt x="520583" y="53975"/>
                    <a:pt x="520583" y="53975"/>
                    <a:pt x="487804" y="53975"/>
                  </a:cubicBezTo>
                  <a:close/>
                  <a:moveTo>
                    <a:pt x="505435" y="0"/>
                  </a:moveTo>
                  <a:cubicBezTo>
                    <a:pt x="609810" y="0"/>
                    <a:pt x="694169" y="84350"/>
                    <a:pt x="694169" y="188715"/>
                  </a:cubicBezTo>
                  <a:cubicBezTo>
                    <a:pt x="694169" y="259484"/>
                    <a:pt x="654849" y="321674"/>
                    <a:pt x="596942" y="353841"/>
                  </a:cubicBezTo>
                  <a:cubicBezTo>
                    <a:pt x="596942" y="353841"/>
                    <a:pt x="596942" y="353841"/>
                    <a:pt x="674152" y="517537"/>
                  </a:cubicBezTo>
                  <a:cubicBezTo>
                    <a:pt x="702748" y="506815"/>
                    <a:pt x="733488" y="500381"/>
                    <a:pt x="764944" y="500381"/>
                  </a:cubicBezTo>
                  <a:cubicBezTo>
                    <a:pt x="819991" y="500381"/>
                    <a:pt x="870749" y="518252"/>
                    <a:pt x="912213" y="548990"/>
                  </a:cubicBezTo>
                  <a:cubicBezTo>
                    <a:pt x="912213" y="548990"/>
                    <a:pt x="912213" y="548990"/>
                    <a:pt x="1080930" y="348122"/>
                  </a:cubicBezTo>
                  <a:cubicBezTo>
                    <a:pt x="1049474" y="316670"/>
                    <a:pt x="1029457" y="273065"/>
                    <a:pt x="1029457" y="225172"/>
                  </a:cubicBezTo>
                  <a:cubicBezTo>
                    <a:pt x="1029457" y="130814"/>
                    <a:pt x="1105952" y="54327"/>
                    <a:pt x="1200318" y="54327"/>
                  </a:cubicBezTo>
                  <a:cubicBezTo>
                    <a:pt x="1294685" y="54327"/>
                    <a:pt x="1371180" y="130814"/>
                    <a:pt x="1371180" y="225172"/>
                  </a:cubicBezTo>
                  <a:cubicBezTo>
                    <a:pt x="1371180" y="319529"/>
                    <a:pt x="1294685" y="396016"/>
                    <a:pt x="1200318" y="396016"/>
                  </a:cubicBezTo>
                  <a:cubicBezTo>
                    <a:pt x="1165288" y="396016"/>
                    <a:pt x="1133118" y="385294"/>
                    <a:pt x="1105952" y="367423"/>
                  </a:cubicBezTo>
                  <a:cubicBezTo>
                    <a:pt x="1105952" y="367423"/>
                    <a:pt x="1105952" y="367423"/>
                    <a:pt x="935805" y="569005"/>
                  </a:cubicBezTo>
                  <a:cubicBezTo>
                    <a:pt x="980129" y="611180"/>
                    <a:pt x="1008725" y="669796"/>
                    <a:pt x="1012300" y="734846"/>
                  </a:cubicBezTo>
                  <a:cubicBezTo>
                    <a:pt x="1012300" y="734846"/>
                    <a:pt x="1012300" y="734846"/>
                    <a:pt x="1201033" y="737705"/>
                  </a:cubicBezTo>
                  <a:cubicBezTo>
                    <a:pt x="1202463" y="653355"/>
                    <a:pt x="1271808" y="585446"/>
                    <a:pt x="1356166" y="585446"/>
                  </a:cubicBezTo>
                  <a:cubicBezTo>
                    <a:pt x="1441955" y="585446"/>
                    <a:pt x="1511300" y="654785"/>
                    <a:pt x="1511300" y="740564"/>
                  </a:cubicBezTo>
                  <a:cubicBezTo>
                    <a:pt x="1511300" y="826344"/>
                    <a:pt x="1441955" y="895683"/>
                    <a:pt x="1356166" y="895683"/>
                  </a:cubicBezTo>
                  <a:cubicBezTo>
                    <a:pt x="1280387" y="895683"/>
                    <a:pt x="1217476" y="841355"/>
                    <a:pt x="1203893" y="769158"/>
                  </a:cubicBezTo>
                  <a:cubicBezTo>
                    <a:pt x="1203893" y="769158"/>
                    <a:pt x="1203893" y="769158"/>
                    <a:pt x="1011585" y="766298"/>
                  </a:cubicBezTo>
                  <a:cubicBezTo>
                    <a:pt x="1006580" y="834922"/>
                    <a:pt x="972980" y="895683"/>
                    <a:pt x="923652" y="937858"/>
                  </a:cubicBezTo>
                  <a:cubicBezTo>
                    <a:pt x="923652" y="937858"/>
                    <a:pt x="923652" y="937858"/>
                    <a:pt x="1036606" y="1092976"/>
                  </a:cubicBezTo>
                  <a:cubicBezTo>
                    <a:pt x="1070206" y="1072246"/>
                    <a:pt x="1108811" y="1060094"/>
                    <a:pt x="1150990" y="1060094"/>
                  </a:cubicBezTo>
                  <a:cubicBezTo>
                    <a:pt x="1271093" y="1060094"/>
                    <a:pt x="1368320" y="1157310"/>
                    <a:pt x="1368320" y="1277402"/>
                  </a:cubicBezTo>
                  <a:cubicBezTo>
                    <a:pt x="1368320" y="1397493"/>
                    <a:pt x="1271093" y="1494710"/>
                    <a:pt x="1150990" y="1494710"/>
                  </a:cubicBezTo>
                  <a:cubicBezTo>
                    <a:pt x="1030887" y="1494710"/>
                    <a:pt x="933660" y="1397493"/>
                    <a:pt x="933660" y="1277402"/>
                  </a:cubicBezTo>
                  <a:cubicBezTo>
                    <a:pt x="933660" y="1210923"/>
                    <a:pt x="963686" y="1150877"/>
                    <a:pt x="1011585" y="1110846"/>
                  </a:cubicBezTo>
                  <a:cubicBezTo>
                    <a:pt x="1011585" y="1110846"/>
                    <a:pt x="1011585" y="1110846"/>
                    <a:pt x="897915" y="956443"/>
                  </a:cubicBezTo>
                  <a:cubicBezTo>
                    <a:pt x="859311" y="980747"/>
                    <a:pt x="814272" y="995044"/>
                    <a:pt x="764944" y="995044"/>
                  </a:cubicBezTo>
                  <a:cubicBezTo>
                    <a:pt x="714186" y="995044"/>
                    <a:pt x="667003" y="979318"/>
                    <a:pt x="626968" y="952869"/>
                  </a:cubicBezTo>
                  <a:cubicBezTo>
                    <a:pt x="626968" y="952869"/>
                    <a:pt x="626968" y="952869"/>
                    <a:pt x="481843" y="1142299"/>
                  </a:cubicBezTo>
                  <a:cubicBezTo>
                    <a:pt x="523308" y="1179470"/>
                    <a:pt x="549044" y="1233082"/>
                    <a:pt x="549044" y="1293128"/>
                  </a:cubicBezTo>
                  <a:cubicBezTo>
                    <a:pt x="549044" y="1405357"/>
                    <a:pt x="458252" y="1495425"/>
                    <a:pt x="346727" y="1495425"/>
                  </a:cubicBezTo>
                  <a:cubicBezTo>
                    <a:pt x="235203" y="1495425"/>
                    <a:pt x="144410" y="1405357"/>
                    <a:pt x="144410" y="1293128"/>
                  </a:cubicBezTo>
                  <a:cubicBezTo>
                    <a:pt x="144410" y="1181615"/>
                    <a:pt x="235203" y="1090831"/>
                    <a:pt x="346727" y="1090831"/>
                  </a:cubicBezTo>
                  <a:cubicBezTo>
                    <a:pt x="387476" y="1090831"/>
                    <a:pt x="424651" y="1102983"/>
                    <a:pt x="456822" y="1122999"/>
                  </a:cubicBezTo>
                  <a:cubicBezTo>
                    <a:pt x="456822" y="1122999"/>
                    <a:pt x="456822" y="1122999"/>
                    <a:pt x="602661" y="933569"/>
                  </a:cubicBezTo>
                  <a:cubicBezTo>
                    <a:pt x="550474" y="887819"/>
                    <a:pt x="517588" y="821340"/>
                    <a:pt x="517588" y="747713"/>
                  </a:cubicBezTo>
                  <a:cubicBezTo>
                    <a:pt x="517588" y="746283"/>
                    <a:pt x="518303" y="744853"/>
                    <a:pt x="518303" y="743424"/>
                  </a:cubicBezTo>
                  <a:cubicBezTo>
                    <a:pt x="518303" y="743424"/>
                    <a:pt x="518303" y="743424"/>
                    <a:pt x="369604" y="731272"/>
                  </a:cubicBezTo>
                  <a:cubicBezTo>
                    <a:pt x="355306" y="819911"/>
                    <a:pt x="278811" y="887819"/>
                    <a:pt x="185874" y="887819"/>
                  </a:cubicBezTo>
                  <a:cubicBezTo>
                    <a:pt x="82929" y="887819"/>
                    <a:pt x="0" y="804184"/>
                    <a:pt x="0" y="701249"/>
                  </a:cubicBezTo>
                  <a:cubicBezTo>
                    <a:pt x="0" y="599028"/>
                    <a:pt x="82929" y="515393"/>
                    <a:pt x="185874" y="515393"/>
                  </a:cubicBezTo>
                  <a:cubicBezTo>
                    <a:pt x="288105" y="515393"/>
                    <a:pt x="371034" y="598313"/>
                    <a:pt x="371749" y="700534"/>
                  </a:cubicBezTo>
                  <a:cubicBezTo>
                    <a:pt x="371749" y="700534"/>
                    <a:pt x="371749" y="700534"/>
                    <a:pt x="520448" y="711971"/>
                  </a:cubicBezTo>
                  <a:cubicBezTo>
                    <a:pt x="531886" y="634055"/>
                    <a:pt x="579785" y="567575"/>
                    <a:pt x="645556" y="531119"/>
                  </a:cubicBezTo>
                  <a:cubicBezTo>
                    <a:pt x="645556" y="531119"/>
                    <a:pt x="645556" y="531119"/>
                    <a:pt x="568346" y="366708"/>
                  </a:cubicBezTo>
                  <a:cubicBezTo>
                    <a:pt x="549044" y="373856"/>
                    <a:pt x="527597" y="377431"/>
                    <a:pt x="505435" y="377431"/>
                  </a:cubicBezTo>
                  <a:cubicBezTo>
                    <a:pt x="401060" y="377431"/>
                    <a:pt x="316701" y="293081"/>
                    <a:pt x="316701" y="188715"/>
                  </a:cubicBezTo>
                  <a:cubicBezTo>
                    <a:pt x="316701" y="84350"/>
                    <a:pt x="401060" y="0"/>
                    <a:pt x="505435" y="0"/>
                  </a:cubicBezTo>
                  <a:close/>
                </a:path>
              </a:pathLst>
            </a:custGeom>
            <a:solidFill>
              <a:srgbClr val="30C1D7"/>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28" name="Rectangle 27">
            <a:extLst>
              <a:ext uri="{FF2B5EF4-FFF2-40B4-BE49-F238E27FC236}">
                <a16:creationId xmlns:a16="http://schemas.microsoft.com/office/drawing/2014/main" id="{8E02EF40-2CE0-1BC0-738F-CDD8C61ED4F4}"/>
              </a:ext>
            </a:extLst>
          </p:cNvPr>
          <p:cNvSpPr/>
          <p:nvPr/>
        </p:nvSpPr>
        <p:spPr>
          <a:xfrm>
            <a:off x="3077531" y="3961378"/>
            <a:ext cx="2922598" cy="550290"/>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eaLnBrk="0" fontAlgn="base" hangingPunct="0">
              <a:spcBef>
                <a:spcPct val="0"/>
              </a:spcBef>
              <a:spcAft>
                <a:spcPct val="0"/>
              </a:spcAft>
            </a:pPr>
            <a:r>
              <a:rPr lang="en-US" sz="1400" dirty="0" smtClean="0">
                <a:solidFill>
                  <a:srgbClr val="575757"/>
                </a:solidFill>
                <a:latin typeface="Calibri" panose="020F0502020204030204" pitchFamily="34" charset="0"/>
                <a:cs typeface="Calibri" panose="020F0502020204030204" pitchFamily="34" charset="0"/>
              </a:rPr>
              <a:t>Institutional capacity building </a:t>
            </a:r>
            <a:r>
              <a:rPr lang="tr-TR" sz="1400" dirty="0" err="1" smtClean="0">
                <a:solidFill>
                  <a:srgbClr val="575757"/>
                </a:solidFill>
                <a:latin typeface="Calibri" panose="020F0502020204030204" pitchFamily="34" charset="0"/>
                <a:cs typeface="Calibri" panose="020F0502020204030204" pitchFamily="34" charset="0"/>
              </a:rPr>
              <a:t>and</a:t>
            </a:r>
            <a:endParaRPr lang="tr-TR" sz="1400" dirty="0">
              <a:solidFill>
                <a:srgbClr val="575757"/>
              </a:solidFill>
              <a:latin typeface="Calibri" panose="020F0502020204030204" pitchFamily="34" charset="0"/>
              <a:cs typeface="Calibri" panose="020F0502020204030204" pitchFamily="34" charset="0"/>
            </a:endParaRPr>
          </a:p>
          <a:p>
            <a:pPr lvl="0" eaLnBrk="0" fontAlgn="base" hangingPunct="0">
              <a:spcBef>
                <a:spcPct val="0"/>
              </a:spcBef>
              <a:spcAft>
                <a:spcPct val="0"/>
              </a:spcAft>
            </a:pPr>
            <a:r>
              <a:rPr lang="en-US" sz="1400" dirty="0" smtClean="0">
                <a:solidFill>
                  <a:srgbClr val="575757"/>
                </a:solidFill>
                <a:latin typeface="Calibri" panose="020F0502020204030204" pitchFamily="34" charset="0"/>
                <a:cs typeface="Calibri" panose="020F0502020204030204" pitchFamily="34" charset="0"/>
              </a:rPr>
              <a:t>technical assistance in the AFOLU sector</a:t>
            </a:r>
            <a:endParaRPr lang="tr-TR" altLang="tr-TR" sz="1400" dirty="0">
              <a:solidFill>
                <a:srgbClr val="575757"/>
              </a:solidFill>
              <a:latin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EF21C2C7-8FB5-9A12-4007-E97F978AE75D}"/>
              </a:ext>
            </a:extLst>
          </p:cNvPr>
          <p:cNvSpPr/>
          <p:nvPr/>
        </p:nvSpPr>
        <p:spPr>
          <a:xfrm>
            <a:off x="597609" y="3909127"/>
            <a:ext cx="1411551" cy="553998"/>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algn="ctr">
              <a:defRPr/>
            </a:pPr>
            <a:r>
              <a:rPr lang="en-US" sz="1200" dirty="0">
                <a:solidFill>
                  <a:srgbClr val="575757"/>
                </a:solidFill>
                <a:latin typeface="Calibri" panose="020F0502020204030204" pitchFamily="34" charset="0"/>
                <a:cs typeface="Calibri" panose="020F0502020204030204" pitchFamily="34" charset="0"/>
              </a:rPr>
              <a:t>AFOLU </a:t>
            </a:r>
            <a:endParaRPr lang="tr-TR" sz="1200" dirty="0" smtClean="0">
              <a:solidFill>
                <a:srgbClr val="575757"/>
              </a:solidFill>
              <a:latin typeface="Calibri" panose="020F0502020204030204" pitchFamily="34" charset="0"/>
              <a:cs typeface="Calibri" panose="020F0502020204030204" pitchFamily="34" charset="0"/>
            </a:endParaRPr>
          </a:p>
          <a:p>
            <a:pPr lvl="0" algn="ctr">
              <a:defRPr/>
            </a:pPr>
            <a:r>
              <a:rPr lang="en-US" sz="1200" dirty="0" smtClean="0">
                <a:solidFill>
                  <a:srgbClr val="575757"/>
                </a:solidFill>
                <a:latin typeface="Calibri" panose="020F0502020204030204" pitchFamily="34" charset="0"/>
                <a:cs typeface="Calibri" panose="020F0502020204030204" pitchFamily="34" charset="0"/>
              </a:rPr>
              <a:t>(</a:t>
            </a:r>
            <a:r>
              <a:rPr lang="en-US" sz="1200" dirty="0">
                <a:solidFill>
                  <a:srgbClr val="575757"/>
                </a:solidFill>
                <a:latin typeface="Calibri" panose="020F0502020204030204" pitchFamily="34" charset="0"/>
                <a:cs typeface="Calibri" panose="020F0502020204030204" pitchFamily="34" charset="0"/>
              </a:rPr>
              <a:t>Agriculture, Forestry and Other Land Use)</a:t>
            </a:r>
          </a:p>
        </p:txBody>
      </p:sp>
      <p:sp>
        <p:nvSpPr>
          <p:cNvPr id="8" name="Rectangle 7">
            <a:extLst>
              <a:ext uri="{FF2B5EF4-FFF2-40B4-BE49-F238E27FC236}">
                <a16:creationId xmlns:a16="http://schemas.microsoft.com/office/drawing/2014/main" id="{8F3B93EA-447A-DF2F-FE89-6140B106CE74}"/>
              </a:ext>
            </a:extLst>
          </p:cNvPr>
          <p:cNvSpPr/>
          <p:nvPr/>
        </p:nvSpPr>
        <p:spPr>
          <a:xfrm>
            <a:off x="3525783" y="4663964"/>
            <a:ext cx="3888689" cy="1477328"/>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lvl="0" indent="-171450" eaLnBrk="0" fontAlgn="base" hangingPunct="0">
              <a:spcBef>
                <a:spcPct val="0"/>
              </a:spcBef>
              <a:spcAft>
                <a:spcPct val="0"/>
              </a:spcAft>
              <a:buFont typeface="Wingdings" panose="05000000000000000000" pitchFamily="2" charset="2"/>
              <a:buChar char="§"/>
            </a:pPr>
            <a:r>
              <a:rPr lang="tr-TR" altLang="tr-TR" sz="1200" dirty="0" err="1">
                <a:solidFill>
                  <a:srgbClr val="575757"/>
                </a:solidFill>
                <a:latin typeface="Calibri" panose="020F0502020204030204" pitchFamily="34" charset="0"/>
                <a:cs typeface="Calibri" panose="020F0502020204030204" pitchFamily="34" charset="0"/>
              </a:rPr>
              <a:t>Based</a:t>
            </a:r>
            <a:r>
              <a:rPr lang="tr-TR" altLang="tr-TR" sz="1200" dirty="0">
                <a:solidFill>
                  <a:srgbClr val="575757"/>
                </a:solidFill>
                <a:latin typeface="Calibri" panose="020F0502020204030204" pitchFamily="34" charset="0"/>
                <a:cs typeface="Calibri" panose="020F0502020204030204" pitchFamily="34" charset="0"/>
              </a:rPr>
              <a:t> on </a:t>
            </a:r>
            <a:r>
              <a:rPr lang="tr-TR" altLang="tr-TR" sz="1200" dirty="0" err="1">
                <a:solidFill>
                  <a:srgbClr val="575757"/>
                </a:solidFill>
                <a:latin typeface="Calibri" panose="020F0502020204030204" pitchFamily="34" charset="0"/>
                <a:cs typeface="Calibri" panose="020F0502020204030204" pitchFamily="34" charset="0"/>
              </a:rPr>
              <a:t>Türkiye’s</a:t>
            </a:r>
            <a:r>
              <a:rPr lang="tr-TR" altLang="tr-TR" sz="1200" dirty="0">
                <a:solidFill>
                  <a:srgbClr val="575757"/>
                </a:solidFill>
                <a:latin typeface="Calibri" panose="020F0502020204030204" pitchFamily="34" charset="0"/>
                <a:cs typeface="Calibri" panose="020F0502020204030204" pitchFamily="34" charset="0"/>
              </a:rPr>
              <a:t> GHG Inventory (TURKSTAT, 2023) → </a:t>
            </a:r>
            <a:r>
              <a:rPr lang="tr-TR" altLang="tr-TR" sz="1200" dirty="0" err="1">
                <a:solidFill>
                  <a:srgbClr val="575757"/>
                </a:solidFill>
                <a:latin typeface="Calibri" panose="020F0502020204030204" pitchFamily="34" charset="0"/>
                <a:cs typeface="Calibri" panose="020F0502020204030204" pitchFamily="34" charset="0"/>
              </a:rPr>
              <a:t>Avg</a:t>
            </a:r>
            <a:r>
              <a:rPr lang="tr-TR" altLang="tr-TR" sz="1200" dirty="0">
                <a:solidFill>
                  <a:srgbClr val="575757"/>
                </a:solidFill>
                <a:latin typeface="Calibri" panose="020F0502020204030204" pitchFamily="34" charset="0"/>
                <a:cs typeface="Calibri" panose="020F0502020204030204" pitchFamily="34" charset="0"/>
              </a:rPr>
              <a:t>. 56 </a:t>
            </a:r>
            <a:r>
              <a:rPr lang="tr-TR" altLang="tr-TR" sz="1200" dirty="0" err="1">
                <a:solidFill>
                  <a:srgbClr val="575757"/>
                </a:solidFill>
                <a:latin typeface="Calibri" panose="020F0502020204030204" pitchFamily="34" charset="0"/>
                <a:cs typeface="Calibri" panose="020F0502020204030204" pitchFamily="34" charset="0"/>
              </a:rPr>
              <a:t>MtCO₂e</a:t>
            </a:r>
            <a:r>
              <a:rPr lang="tr-TR" altLang="tr-TR" sz="1200" dirty="0">
                <a:solidFill>
                  <a:srgbClr val="575757"/>
                </a:solidFill>
                <a:latin typeface="Calibri" panose="020F0502020204030204" pitchFamily="34" charset="0"/>
                <a:cs typeface="Calibri" panose="020F0502020204030204" pitchFamily="34" charset="0"/>
              </a:rPr>
              <a:t>/</a:t>
            </a:r>
            <a:r>
              <a:rPr lang="tr-TR" altLang="tr-TR" sz="1200" dirty="0" err="1">
                <a:solidFill>
                  <a:srgbClr val="575757"/>
                </a:solidFill>
                <a:latin typeface="Calibri" panose="020F0502020204030204" pitchFamily="34" charset="0"/>
                <a:cs typeface="Calibri" panose="020F0502020204030204" pitchFamily="34" charset="0"/>
              </a:rPr>
              <a:t>yr</a:t>
            </a:r>
            <a:r>
              <a:rPr lang="tr-TR" altLang="tr-TR" sz="1200" dirty="0">
                <a:solidFill>
                  <a:srgbClr val="575757"/>
                </a:solidFill>
                <a:latin typeface="Calibri" panose="020F0502020204030204" pitchFamily="34" charset="0"/>
                <a:cs typeface="Calibri" panose="020F0502020204030204" pitchFamily="34" charset="0"/>
              </a:rPr>
              <a:t> (1990–2023)</a:t>
            </a:r>
          </a:p>
          <a:p>
            <a:pPr marL="171450" lvl="0" indent="-171450" eaLnBrk="0" fontAlgn="base" hangingPunct="0">
              <a:spcBef>
                <a:spcPct val="0"/>
              </a:spcBef>
              <a:spcAft>
                <a:spcPct val="0"/>
              </a:spcAft>
              <a:buFont typeface="Wingdings" panose="05000000000000000000" pitchFamily="2" charset="2"/>
              <a:buChar char="§"/>
            </a:pPr>
            <a:r>
              <a:rPr lang="tr-TR" altLang="tr-TR" sz="1200" dirty="0" smtClean="0">
                <a:solidFill>
                  <a:srgbClr val="575757"/>
                </a:solidFill>
                <a:latin typeface="Calibri" panose="020F0502020204030204" pitchFamily="34" charset="0"/>
                <a:cs typeface="Calibri" panose="020F0502020204030204" pitchFamily="34" charset="0"/>
              </a:rPr>
              <a:t>Project </a:t>
            </a:r>
            <a:r>
              <a:rPr lang="tr-TR" altLang="tr-TR" sz="1200" dirty="0" err="1">
                <a:solidFill>
                  <a:srgbClr val="575757"/>
                </a:solidFill>
                <a:latin typeface="Calibri" panose="020F0502020204030204" pitchFamily="34" charset="0"/>
                <a:cs typeface="Calibri" panose="020F0502020204030204" pitchFamily="34" charset="0"/>
              </a:rPr>
              <a:t>enables</a:t>
            </a:r>
            <a:r>
              <a:rPr lang="tr-TR" altLang="tr-TR" sz="1200" dirty="0">
                <a:solidFill>
                  <a:srgbClr val="575757"/>
                </a:solidFill>
                <a:latin typeface="Calibri" panose="020F0502020204030204" pitchFamily="34" charset="0"/>
                <a:cs typeface="Calibri" panose="020F0502020204030204" pitchFamily="34" charset="0"/>
              </a:rPr>
              <a:t> 1–2% </a:t>
            </a:r>
            <a:r>
              <a:rPr lang="tr-TR" altLang="tr-TR" sz="1200" dirty="0" err="1">
                <a:solidFill>
                  <a:srgbClr val="575757"/>
                </a:solidFill>
                <a:latin typeface="Calibri" panose="020F0502020204030204" pitchFamily="34" charset="0"/>
                <a:cs typeface="Calibri" panose="020F0502020204030204" pitchFamily="34" charset="0"/>
              </a:rPr>
              <a:t>reduction</a:t>
            </a:r>
            <a:r>
              <a:rPr lang="tr-TR" altLang="tr-TR" sz="1200" dirty="0">
                <a:solidFill>
                  <a:srgbClr val="575757"/>
                </a:solidFill>
                <a:latin typeface="Calibri" panose="020F0502020204030204" pitchFamily="34" charset="0"/>
                <a:cs typeface="Calibri" panose="020F0502020204030204" pitchFamily="34" charset="0"/>
              </a:rPr>
              <a:t> → ~0.74 </a:t>
            </a:r>
            <a:r>
              <a:rPr lang="tr-TR" altLang="tr-TR" sz="1200" dirty="0" err="1">
                <a:solidFill>
                  <a:srgbClr val="575757"/>
                </a:solidFill>
                <a:latin typeface="Calibri" panose="020F0502020204030204" pitchFamily="34" charset="0"/>
                <a:cs typeface="Calibri" panose="020F0502020204030204" pitchFamily="34" charset="0"/>
              </a:rPr>
              <a:t>MtCO₂e</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avoided</a:t>
            </a:r>
            <a:r>
              <a:rPr lang="tr-TR" altLang="tr-TR" sz="1200" dirty="0">
                <a:solidFill>
                  <a:srgbClr val="575757"/>
                </a:solidFill>
                <a:latin typeface="Calibri" panose="020F0502020204030204" pitchFamily="34" charset="0"/>
                <a:cs typeface="Calibri" panose="020F0502020204030204" pitchFamily="34" charset="0"/>
              </a:rPr>
              <a:t>/</a:t>
            </a:r>
            <a:r>
              <a:rPr lang="tr-TR" altLang="tr-TR" sz="1200" dirty="0" err="1">
                <a:solidFill>
                  <a:srgbClr val="575757"/>
                </a:solidFill>
                <a:latin typeface="Calibri" panose="020F0502020204030204" pitchFamily="34" charset="0"/>
                <a:cs typeface="Calibri" panose="020F0502020204030204" pitchFamily="34" charset="0"/>
              </a:rPr>
              <a:t>yr</a:t>
            </a:r>
            <a:endParaRPr lang="tr-TR" altLang="tr-TR" sz="1200" dirty="0">
              <a:solidFill>
                <a:srgbClr val="575757"/>
              </a:solidFill>
              <a:latin typeface="Calibri" panose="020F0502020204030204" pitchFamily="34" charset="0"/>
              <a:cs typeface="Calibri" panose="020F0502020204030204" pitchFamily="34" charset="0"/>
            </a:endParaRPr>
          </a:p>
          <a:p>
            <a:pPr marL="171450" lvl="0" indent="-171450" eaLnBrk="0" fontAlgn="base" hangingPunct="0">
              <a:spcBef>
                <a:spcPct val="0"/>
              </a:spcBef>
              <a:spcAft>
                <a:spcPct val="0"/>
              </a:spcAft>
              <a:buFont typeface="Wingdings" panose="05000000000000000000" pitchFamily="2" charset="2"/>
              <a:buChar char="§"/>
            </a:pPr>
            <a:r>
              <a:rPr lang="tr-TR" altLang="tr-TR" sz="1200" dirty="0" err="1">
                <a:solidFill>
                  <a:srgbClr val="575757"/>
                </a:solidFill>
                <a:latin typeface="Calibri" panose="020F0502020204030204" pitchFamily="34" charset="0"/>
                <a:cs typeface="Calibri" panose="020F0502020204030204" pitchFamily="34" charset="0"/>
              </a:rPr>
              <a:t>Cumulative</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impact</a:t>
            </a:r>
            <a:r>
              <a:rPr lang="tr-TR" altLang="tr-TR" sz="1200" dirty="0">
                <a:solidFill>
                  <a:srgbClr val="575757"/>
                </a:solidFill>
                <a:latin typeface="Calibri" panose="020F0502020204030204" pitchFamily="34" charset="0"/>
                <a:cs typeface="Calibri" panose="020F0502020204030204" pitchFamily="34" charset="0"/>
              </a:rPr>
              <a:t> (2025–2035): ~7.4 </a:t>
            </a:r>
            <a:r>
              <a:rPr lang="tr-TR" altLang="tr-TR" sz="1200" dirty="0" err="1">
                <a:solidFill>
                  <a:srgbClr val="575757"/>
                </a:solidFill>
                <a:latin typeface="Calibri" panose="020F0502020204030204" pitchFamily="34" charset="0"/>
                <a:cs typeface="Calibri" panose="020F0502020204030204" pitchFamily="34" charset="0"/>
              </a:rPr>
              <a:t>MtCO₂e</a:t>
            </a:r>
            <a:endParaRPr lang="tr-TR" altLang="tr-TR" sz="1200" dirty="0">
              <a:solidFill>
                <a:srgbClr val="575757"/>
              </a:solidFill>
              <a:latin typeface="Calibri" panose="020F0502020204030204" pitchFamily="34" charset="0"/>
              <a:cs typeface="Calibri" panose="020F0502020204030204" pitchFamily="34" charset="0"/>
            </a:endParaRPr>
          </a:p>
          <a:p>
            <a:pPr marL="171450" lvl="0" indent="-171450" eaLnBrk="0" fontAlgn="base" hangingPunct="0">
              <a:spcBef>
                <a:spcPct val="0"/>
              </a:spcBef>
              <a:spcAft>
                <a:spcPct val="0"/>
              </a:spcAft>
              <a:buFont typeface="Wingdings" panose="05000000000000000000" pitchFamily="2" charset="2"/>
              <a:buChar char="§"/>
            </a:pPr>
            <a:r>
              <a:rPr lang="tr-TR" altLang="tr-TR" sz="1200" dirty="0" err="1">
                <a:solidFill>
                  <a:srgbClr val="575757"/>
                </a:solidFill>
                <a:latin typeface="Calibri" panose="020F0502020204030204" pitchFamily="34" charset="0"/>
                <a:cs typeface="Calibri" panose="020F0502020204030204" pitchFamily="34" charset="0"/>
              </a:rPr>
              <a:t>Assumptions</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aligned</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with</a:t>
            </a:r>
            <a:r>
              <a:rPr lang="tr-TR" altLang="tr-TR" sz="1200" dirty="0">
                <a:solidFill>
                  <a:srgbClr val="575757"/>
                </a:solidFill>
                <a:latin typeface="Calibri" panose="020F0502020204030204" pitchFamily="34" charset="0"/>
                <a:cs typeface="Calibri" panose="020F0502020204030204" pitchFamily="34" charset="0"/>
              </a:rPr>
              <a:t> IPCC AR6 WGIII global AFOLU </a:t>
            </a:r>
            <a:r>
              <a:rPr lang="tr-TR" altLang="tr-TR" sz="1200" dirty="0" err="1">
                <a:solidFill>
                  <a:srgbClr val="575757"/>
                </a:solidFill>
                <a:latin typeface="Calibri" panose="020F0502020204030204" pitchFamily="34" charset="0"/>
                <a:cs typeface="Calibri" panose="020F0502020204030204" pitchFamily="34" charset="0"/>
              </a:rPr>
              <a:t>potential</a:t>
            </a:r>
            <a:r>
              <a:rPr lang="tr-TR" altLang="tr-TR" sz="1200" dirty="0">
                <a:solidFill>
                  <a:srgbClr val="575757"/>
                </a:solidFill>
                <a:latin typeface="Calibri" panose="020F0502020204030204" pitchFamily="34" charset="0"/>
                <a:cs typeface="Calibri" panose="020F0502020204030204" pitchFamily="34" charset="0"/>
              </a:rPr>
              <a:t> (8–14 </a:t>
            </a:r>
            <a:r>
              <a:rPr lang="tr-TR" altLang="tr-TR" sz="1200" dirty="0" err="1">
                <a:solidFill>
                  <a:srgbClr val="575757"/>
                </a:solidFill>
                <a:latin typeface="Calibri" panose="020F0502020204030204" pitchFamily="34" charset="0"/>
                <a:cs typeface="Calibri" panose="020F0502020204030204" pitchFamily="34" charset="0"/>
              </a:rPr>
              <a:t>GtCO₂e</a:t>
            </a:r>
            <a:r>
              <a:rPr lang="tr-TR" altLang="tr-TR" sz="1200" dirty="0">
                <a:solidFill>
                  <a:srgbClr val="575757"/>
                </a:solidFill>
                <a:latin typeface="Calibri" panose="020F0502020204030204" pitchFamily="34" charset="0"/>
                <a:cs typeface="Calibri" panose="020F0502020204030204" pitchFamily="34" charset="0"/>
              </a:rPr>
              <a:t>/</a:t>
            </a:r>
            <a:r>
              <a:rPr lang="tr-TR" altLang="tr-TR" sz="1200" dirty="0" err="1">
                <a:solidFill>
                  <a:srgbClr val="575757"/>
                </a:solidFill>
                <a:latin typeface="Calibri" panose="020F0502020204030204" pitchFamily="34" charset="0"/>
                <a:cs typeface="Calibri" panose="020F0502020204030204" pitchFamily="34" charset="0"/>
              </a:rPr>
              <a:t>yr</a:t>
            </a:r>
            <a:r>
              <a:rPr lang="tr-TR" altLang="tr-TR" sz="1200" dirty="0">
                <a:solidFill>
                  <a:srgbClr val="575757"/>
                </a:solidFill>
                <a:latin typeface="Calibri" panose="020F0502020204030204" pitchFamily="34" charset="0"/>
                <a:cs typeface="Calibri" panose="020F0502020204030204" pitchFamily="34" charset="0"/>
              </a:rPr>
              <a:t>)</a:t>
            </a:r>
          </a:p>
          <a:p>
            <a:pPr marL="171450" lvl="0" indent="-171450" eaLnBrk="0" fontAlgn="base" hangingPunct="0">
              <a:spcBef>
                <a:spcPct val="0"/>
              </a:spcBef>
              <a:spcAft>
                <a:spcPct val="0"/>
              </a:spcAft>
              <a:buFont typeface="Wingdings" panose="05000000000000000000" pitchFamily="2" charset="2"/>
              <a:buChar char="§"/>
            </a:pPr>
            <a:r>
              <a:rPr lang="tr-TR" altLang="tr-TR" sz="1200" dirty="0" err="1">
                <a:solidFill>
                  <a:srgbClr val="575757"/>
                </a:solidFill>
                <a:latin typeface="Calibri" panose="020F0502020204030204" pitchFamily="34" charset="0"/>
                <a:cs typeface="Calibri" panose="020F0502020204030204" pitchFamily="34" charset="0"/>
              </a:rPr>
              <a:t>Co-benefits</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sustainable</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land</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use</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ecosystem</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protection</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policy</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coherence</a:t>
            </a:r>
            <a:r>
              <a:rPr lang="tr-TR" altLang="tr-TR" sz="1200" dirty="0">
                <a:solidFill>
                  <a:srgbClr val="575757"/>
                </a:solidFill>
                <a:latin typeface="Calibri" panose="020F0502020204030204" pitchFamily="34" charset="0"/>
                <a:cs typeface="Calibri" panose="020F0502020204030204" pitchFamily="34" charset="0"/>
              </a:rPr>
              <a:t> → </a:t>
            </a:r>
            <a:r>
              <a:rPr lang="tr-TR" altLang="tr-TR" sz="1200" dirty="0" err="1">
                <a:solidFill>
                  <a:srgbClr val="575757"/>
                </a:solidFill>
                <a:latin typeface="Calibri" panose="020F0502020204030204" pitchFamily="34" charset="0"/>
                <a:cs typeface="Calibri" panose="020F0502020204030204" pitchFamily="34" charset="0"/>
              </a:rPr>
              <a:t>supports</a:t>
            </a:r>
            <a:r>
              <a:rPr lang="tr-TR" altLang="tr-TR" sz="1200" dirty="0">
                <a:solidFill>
                  <a:srgbClr val="575757"/>
                </a:solidFill>
                <a:latin typeface="Calibri" panose="020F0502020204030204" pitchFamily="34" charset="0"/>
                <a:cs typeface="Calibri" panose="020F0502020204030204" pitchFamily="34" charset="0"/>
              </a:rPr>
              <a:t> </a:t>
            </a:r>
            <a:r>
              <a:rPr lang="tr-TR" altLang="tr-TR" sz="1200" dirty="0" err="1">
                <a:solidFill>
                  <a:srgbClr val="575757"/>
                </a:solidFill>
                <a:latin typeface="Calibri" panose="020F0502020204030204" pitchFamily="34" charset="0"/>
                <a:cs typeface="Calibri" panose="020F0502020204030204" pitchFamily="34" charset="0"/>
              </a:rPr>
              <a:t>NDCs</a:t>
            </a:r>
            <a:r>
              <a:rPr lang="tr-TR" altLang="tr-TR" sz="1200" dirty="0">
                <a:solidFill>
                  <a:srgbClr val="575757"/>
                </a:solidFill>
                <a:latin typeface="Calibri" panose="020F0502020204030204" pitchFamily="34" charset="0"/>
                <a:cs typeface="Calibri" panose="020F0502020204030204" pitchFamily="34" charset="0"/>
              </a:rPr>
              <a:t>, LTS &amp; 2053 net-</a:t>
            </a:r>
            <a:r>
              <a:rPr lang="tr-TR" altLang="tr-TR" sz="1200" dirty="0" err="1">
                <a:solidFill>
                  <a:srgbClr val="575757"/>
                </a:solidFill>
                <a:latin typeface="Calibri" panose="020F0502020204030204" pitchFamily="34" charset="0"/>
                <a:cs typeface="Calibri" panose="020F0502020204030204" pitchFamily="34" charset="0"/>
              </a:rPr>
              <a:t>zero</a:t>
            </a:r>
            <a:endParaRPr lang="tr-TR" altLang="tr-TR" sz="1200" dirty="0">
              <a:solidFill>
                <a:srgbClr val="575757"/>
              </a:solidFill>
              <a:latin typeface="Calibri" panose="020F0502020204030204" pitchFamily="34" charset="0"/>
              <a:cs typeface="Calibri" panose="020F0502020204030204" pitchFamily="34" charset="0"/>
            </a:endParaRPr>
          </a:p>
          <a:p>
            <a:pPr lvl="0" algn="just">
              <a:defRPr/>
            </a:pPr>
            <a:endParaRPr lang="tr-TR" sz="900" dirty="0">
              <a:solidFill>
                <a:srgbClr val="575757"/>
              </a:solidFill>
              <a:latin typeface="Calibri" panose="020F0502020204030204" pitchFamily="34" charset="0"/>
              <a:cs typeface="Calibri" panose="020F0502020204030204" pitchFamily="34" charset="0"/>
            </a:endParaRPr>
          </a:p>
          <a:p>
            <a:pPr lvl="0" algn="just">
              <a:defRPr/>
            </a:pPr>
            <a:endParaRPr lang="en-US" sz="900" dirty="0">
              <a:solidFill>
                <a:srgbClr val="575757"/>
              </a:solidFill>
              <a:latin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6DFB51C0-72FF-0941-0166-7E1671679B73}"/>
              </a:ext>
            </a:extLst>
          </p:cNvPr>
          <p:cNvSpPr/>
          <p:nvPr/>
        </p:nvSpPr>
        <p:spPr>
          <a:xfrm>
            <a:off x="676207" y="5065531"/>
            <a:ext cx="1537772" cy="430887"/>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lang="en-GB" sz="1400" dirty="0" smtClean="0">
                <a:solidFill>
                  <a:srgbClr val="575757"/>
                </a:solidFill>
                <a:latin typeface="Calibri" panose="020F0502020204030204" pitchFamily="34" charset="0"/>
                <a:cs typeface="Calibri" panose="020F0502020204030204" pitchFamily="34" charset="0"/>
              </a:rPr>
              <a:t>CO2e/</a:t>
            </a:r>
            <a:r>
              <a:rPr lang="en-GB" sz="1400" dirty="0" err="1" smtClean="0">
                <a:solidFill>
                  <a:srgbClr val="575757"/>
                </a:solidFill>
                <a:latin typeface="Calibri" panose="020F0502020204030204" pitchFamily="34" charset="0"/>
                <a:cs typeface="Calibri" panose="020F0502020204030204" pitchFamily="34" charset="0"/>
              </a:rPr>
              <a:t>yr</a:t>
            </a:r>
            <a:r>
              <a:rPr lang="tr-TR" sz="1400" dirty="0">
                <a:solidFill>
                  <a:srgbClr val="575757"/>
                </a:solidFill>
                <a:latin typeface="Calibri" panose="020F0502020204030204" pitchFamily="34" charset="0"/>
                <a:cs typeface="Calibri" panose="020F0502020204030204" pitchFamily="34" charset="0"/>
              </a:rPr>
              <a:t> </a:t>
            </a:r>
            <a:r>
              <a:rPr lang="en-GB" sz="1400" dirty="0" smtClean="0">
                <a:solidFill>
                  <a:srgbClr val="575757"/>
                </a:solidFill>
                <a:latin typeface="Calibri" panose="020F0502020204030204" pitchFamily="34" charset="0"/>
                <a:cs typeface="Calibri" panose="020F0502020204030204" pitchFamily="34" charset="0"/>
              </a:rPr>
              <a:t>avoided</a:t>
            </a:r>
            <a:endParaRPr lang="en-GB" sz="1400" dirty="0">
              <a:solidFill>
                <a:srgbClr val="575757"/>
              </a:solidFill>
              <a:latin typeface="Calibri" panose="020F0502020204030204" pitchFamily="34" charset="0"/>
              <a:cs typeface="Calibri" panose="020F0502020204030204" pitchFamily="34" charset="0"/>
            </a:endParaRPr>
          </a:p>
          <a:p>
            <a:pPr lvl="0">
              <a:defRPr/>
            </a:pPr>
            <a:endParaRPr lang="en-US" sz="1400" dirty="0">
              <a:solidFill>
                <a:srgbClr val="575757"/>
              </a:solidFill>
              <a:latin typeface="Calibri" panose="020F0502020204030204" pitchFamily="34" charset="0"/>
              <a:cs typeface="Calibri" panose="020F0502020204030204" pitchFamily="34" charset="0"/>
            </a:endParaRPr>
          </a:p>
        </p:txBody>
      </p:sp>
      <p:sp>
        <p:nvSpPr>
          <p:cNvPr id="32" name="Rectangle 31">
            <a:extLst>
              <a:ext uri="{FF2B5EF4-FFF2-40B4-BE49-F238E27FC236}">
                <a16:creationId xmlns:a16="http://schemas.microsoft.com/office/drawing/2014/main" id="{05E02590-04EC-A16B-BA14-0AEBA4DA6A57}"/>
              </a:ext>
            </a:extLst>
          </p:cNvPr>
          <p:cNvSpPr/>
          <p:nvPr/>
        </p:nvSpPr>
        <p:spPr>
          <a:xfrm>
            <a:off x="684042" y="5563183"/>
            <a:ext cx="1607984" cy="923330"/>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lang="tr-TR" sz="1200" dirty="0" err="1" smtClean="0">
                <a:solidFill>
                  <a:srgbClr val="575757"/>
                </a:solidFill>
                <a:latin typeface="Calibri" panose="020F0502020204030204" pitchFamily="34" charset="0"/>
                <a:cs typeface="Calibri" panose="020F0502020204030204" pitchFamily="34" charset="0"/>
              </a:rPr>
              <a:t>Mitigation</a:t>
            </a:r>
            <a:r>
              <a:rPr lang="tr-TR" sz="1200" dirty="0" smtClean="0">
                <a:solidFill>
                  <a:srgbClr val="575757"/>
                </a:solidFill>
                <a:latin typeface="Calibri" panose="020F0502020204030204" pitchFamily="34" charset="0"/>
                <a:cs typeface="Calibri" panose="020F0502020204030204" pitchFamily="34" charset="0"/>
              </a:rPr>
              <a:t> </a:t>
            </a:r>
            <a:r>
              <a:rPr lang="tr-TR" sz="1200" b="1" dirty="0">
                <a:solidFill>
                  <a:srgbClr val="575757"/>
                </a:solidFill>
                <a:latin typeface="Calibri" panose="020F0502020204030204" pitchFamily="34" charset="0"/>
                <a:cs typeface="Calibri" panose="020F0502020204030204" pitchFamily="34" charset="0"/>
              </a:rPr>
              <a:t>(</a:t>
            </a:r>
            <a:r>
              <a:rPr lang="tr-TR" sz="1200" b="1" dirty="0" err="1">
                <a:solidFill>
                  <a:srgbClr val="575757"/>
                </a:solidFill>
                <a:latin typeface="Calibri" panose="020F0502020204030204" pitchFamily="34" charset="0"/>
                <a:cs typeface="Calibri" panose="020F0502020204030204" pitchFamily="34" charset="0"/>
              </a:rPr>
              <a:t>avoidance</a:t>
            </a:r>
            <a:r>
              <a:rPr lang="tr-TR" sz="1200" b="1" dirty="0">
                <a:solidFill>
                  <a:srgbClr val="575757"/>
                </a:solidFill>
                <a:latin typeface="Calibri" panose="020F0502020204030204" pitchFamily="34" charset="0"/>
                <a:cs typeface="Calibri" panose="020F0502020204030204" pitchFamily="34" charset="0"/>
              </a:rPr>
              <a:t>)</a:t>
            </a:r>
          </a:p>
          <a:p>
            <a:pPr>
              <a:defRPr/>
            </a:pPr>
            <a:r>
              <a:rPr lang="tr-TR" sz="1200" dirty="0" err="1" smtClean="0">
                <a:solidFill>
                  <a:srgbClr val="575757"/>
                </a:solidFill>
                <a:latin typeface="Calibri" panose="020F0502020204030204" pitchFamily="34" charset="0"/>
                <a:cs typeface="Calibri" panose="020F0502020204030204" pitchFamily="34" charset="0"/>
              </a:rPr>
              <a:t>Mitigation</a:t>
            </a:r>
            <a:r>
              <a:rPr lang="tr-TR" sz="1200" dirty="0" smtClean="0">
                <a:solidFill>
                  <a:srgbClr val="575757"/>
                </a:solidFill>
                <a:latin typeface="Calibri" panose="020F0502020204030204" pitchFamily="34" charset="0"/>
                <a:cs typeface="Calibri" panose="020F0502020204030204" pitchFamily="34" charset="0"/>
              </a:rPr>
              <a:t> </a:t>
            </a:r>
            <a:r>
              <a:rPr lang="tr-TR" sz="1200" b="1" dirty="0" smtClean="0">
                <a:solidFill>
                  <a:srgbClr val="575757"/>
                </a:solidFill>
                <a:latin typeface="Calibri" panose="020F0502020204030204" pitchFamily="34" charset="0"/>
                <a:cs typeface="Calibri" panose="020F0502020204030204" pitchFamily="34" charset="0"/>
              </a:rPr>
              <a:t>(</a:t>
            </a:r>
            <a:r>
              <a:rPr lang="tr-TR" sz="1200" b="1" dirty="0" err="1" smtClean="0">
                <a:solidFill>
                  <a:srgbClr val="575757"/>
                </a:solidFill>
                <a:latin typeface="Calibri" panose="020F0502020204030204" pitchFamily="34" charset="0"/>
                <a:cs typeface="Calibri" panose="020F0502020204030204" pitchFamily="34" charset="0"/>
              </a:rPr>
              <a:t>nature-based</a:t>
            </a:r>
            <a:r>
              <a:rPr lang="tr-TR" sz="1200" b="1" dirty="0" smtClean="0">
                <a:solidFill>
                  <a:srgbClr val="575757"/>
                </a:solidFill>
                <a:latin typeface="Calibri" panose="020F0502020204030204" pitchFamily="34" charset="0"/>
                <a:cs typeface="Calibri" panose="020F0502020204030204" pitchFamily="34" charset="0"/>
              </a:rPr>
              <a:t> </a:t>
            </a:r>
            <a:r>
              <a:rPr lang="tr-TR" sz="1200" b="1" dirty="0" err="1" smtClean="0">
                <a:solidFill>
                  <a:srgbClr val="575757"/>
                </a:solidFill>
                <a:latin typeface="Calibri" panose="020F0502020204030204" pitchFamily="34" charset="0"/>
                <a:cs typeface="Calibri" panose="020F0502020204030204" pitchFamily="34" charset="0"/>
              </a:rPr>
              <a:t>sequestration</a:t>
            </a:r>
            <a:r>
              <a:rPr lang="tr-TR" sz="1200" b="1" dirty="0" smtClean="0">
                <a:solidFill>
                  <a:srgbClr val="575757"/>
                </a:solidFill>
                <a:latin typeface="Calibri" panose="020F0502020204030204" pitchFamily="34" charset="0"/>
                <a:cs typeface="Calibri" panose="020F0502020204030204" pitchFamily="34" charset="0"/>
              </a:rPr>
              <a:t>)</a:t>
            </a:r>
            <a:endParaRPr lang="tr-TR" sz="1200" b="1" dirty="0">
              <a:solidFill>
                <a:srgbClr val="575757"/>
              </a:solidFill>
              <a:latin typeface="Calibri" panose="020F0502020204030204" pitchFamily="34" charset="0"/>
              <a:cs typeface="Calibri" panose="020F0502020204030204" pitchFamily="34" charset="0"/>
            </a:endParaRPr>
          </a:p>
          <a:p>
            <a:pPr>
              <a:defRPr/>
            </a:pPr>
            <a:r>
              <a:rPr lang="tr-TR" sz="1200" dirty="0">
                <a:solidFill>
                  <a:srgbClr val="575757"/>
                </a:solidFill>
                <a:latin typeface="Calibri" panose="020F0502020204030204" pitchFamily="34" charset="0"/>
                <a:cs typeface="Calibri" panose="020F0502020204030204" pitchFamily="34" charset="0"/>
              </a:rPr>
              <a:t>Adaptation &amp; </a:t>
            </a:r>
            <a:r>
              <a:rPr lang="tr-TR" sz="1200" dirty="0" err="1">
                <a:solidFill>
                  <a:srgbClr val="575757"/>
                </a:solidFill>
                <a:latin typeface="Calibri" panose="020F0502020204030204" pitchFamily="34" charset="0"/>
                <a:cs typeface="Calibri" panose="020F0502020204030204" pitchFamily="34" charset="0"/>
              </a:rPr>
              <a:t>resilience</a:t>
            </a:r>
            <a:endParaRPr lang="nb-NO" sz="1200" kern="0" dirty="0">
              <a:solidFill>
                <a:srgbClr val="575757"/>
              </a:solidFill>
              <a:latin typeface="Calibri" panose="020F0502020204030204" pitchFamily="34" charset="0"/>
              <a:cs typeface="Calibri" panose="020F0502020204030204" pitchFamily="34" charset="0"/>
            </a:endParaRPr>
          </a:p>
          <a:p>
            <a:pPr lvl="0">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47" name="Rectangle: Rounded Corners 127">
            <a:extLst>
              <a:ext uri="{FF2B5EF4-FFF2-40B4-BE49-F238E27FC236}">
                <a16:creationId xmlns:a16="http://schemas.microsoft.com/office/drawing/2014/main" id="{04A7A74E-D993-4663-B6E1-0C7ECECC8C90}"/>
              </a:ext>
            </a:extLst>
          </p:cNvPr>
          <p:cNvSpPr>
            <a:spLocks noChangeAspect="1"/>
          </p:cNvSpPr>
          <p:nvPr/>
        </p:nvSpPr>
        <p:spPr>
          <a:xfrm>
            <a:off x="2292026" y="5563183"/>
            <a:ext cx="1136990" cy="718677"/>
          </a:xfrm>
          <a:prstGeom prst="roundRect">
            <a:avLst/>
          </a:prstGeom>
          <a:solidFill>
            <a:srgbClr val="FFFFFF"/>
          </a:solidFill>
          <a:ln w="19050" cap="rnd">
            <a:solidFill>
              <a:srgbClr val="30C1D7"/>
            </a:solidFill>
          </a:ln>
        </p:spPr>
        <p:style>
          <a:lnRef idx="2">
            <a:schemeClr val="accent1">
              <a:shade val="50000"/>
            </a:schemeClr>
          </a:lnRef>
          <a:fillRef idx="1">
            <a:schemeClr val="accent1"/>
          </a:fillRef>
          <a:effectRef idx="0">
            <a:schemeClr val="accent1"/>
          </a:effectRef>
          <a:fontRef idx="minor">
            <a:schemeClr val="lt1"/>
          </a:fontRef>
        </p:style>
        <p:txBody>
          <a:bodyPr wrap="square" lIns="37440" tIns="37440" rIns="37440" bIns="37440" rtlCol="0" anchor="ctr">
            <a:noAutofit/>
          </a:bodyPr>
          <a:lstStyle/>
          <a:p>
            <a:pPr lvl="0" algn="ctr">
              <a:defRPr/>
            </a:pPr>
            <a:r>
              <a:rPr lang="en-US" sz="1200" b="1" kern="0" dirty="0" smtClean="0">
                <a:solidFill>
                  <a:srgbClr val="30C1D7"/>
                </a:solidFill>
                <a:latin typeface="Calibri" panose="020F0502020204030204" pitchFamily="34" charset="0"/>
                <a:cs typeface="Calibri" panose="020F0502020204030204" pitchFamily="34" charset="0"/>
              </a:rPr>
              <a:t>Climate </a:t>
            </a:r>
            <a:r>
              <a:rPr lang="en-US" sz="1200" b="1" kern="0" dirty="0">
                <a:solidFill>
                  <a:srgbClr val="30C1D7"/>
                </a:solidFill>
                <a:latin typeface="Calibri" panose="020F0502020204030204" pitchFamily="34" charset="0"/>
                <a:cs typeface="Calibri" panose="020F0502020204030204" pitchFamily="34" charset="0"/>
              </a:rPr>
              <a:t>impact on land </a:t>
            </a:r>
            <a:r>
              <a:rPr lang="en-US" sz="1200" kern="0" dirty="0">
                <a:solidFill>
                  <a:srgbClr val="30C1D7"/>
                </a:solidFill>
                <a:latin typeface="Calibri" panose="020F0502020204030204" pitchFamily="34" charset="0"/>
                <a:cs typeface="Calibri" panose="020F0502020204030204" pitchFamily="34" charset="0"/>
              </a:rPr>
              <a:t>(AFOLU sector</a:t>
            </a:r>
            <a:r>
              <a:rPr lang="en-US" sz="1200" kern="0" dirty="0" smtClean="0">
                <a:solidFill>
                  <a:srgbClr val="30C1D7"/>
                </a:solidFill>
                <a:latin typeface="Calibri" panose="020F0502020204030204" pitchFamily="34" charset="0"/>
                <a:cs typeface="Calibri" panose="020F0502020204030204" pitchFamily="34" charset="0"/>
              </a:rPr>
              <a:t>)</a:t>
            </a:r>
            <a:endParaRPr lang="nb-NO" sz="1200" kern="0" dirty="0">
              <a:solidFill>
                <a:srgbClr val="30C1D7"/>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19285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b="1" dirty="0">
                <a:solidFill>
                  <a:schemeClr val="bg1"/>
                </a:solidFill>
              </a:rPr>
              <a:t>Project </a:t>
            </a:r>
            <a:r>
              <a:rPr lang="tr-TR" b="1" dirty="0" smtClean="0">
                <a:solidFill>
                  <a:schemeClr val="bg1"/>
                </a:solidFill>
              </a:rPr>
              <a:t>O</a:t>
            </a:r>
            <a:r>
              <a:rPr lang="en-US" b="1" dirty="0" err="1" smtClean="0">
                <a:solidFill>
                  <a:schemeClr val="bg1"/>
                </a:solidFill>
              </a:rPr>
              <a:t>verview</a:t>
            </a:r>
            <a:r>
              <a:rPr lang="en-US" b="1" dirty="0">
                <a:solidFill>
                  <a:schemeClr val="bg1"/>
                </a:solidFill>
              </a:rPr>
              <a:t/>
            </a:r>
            <a:br>
              <a:rPr lang="en-US" b="1" dirty="0">
                <a:solidFill>
                  <a:schemeClr val="bg1"/>
                </a:solidFill>
              </a:rPr>
            </a:br>
            <a:endParaRPr lang="tr-TR" b="1" dirty="0">
              <a:solidFill>
                <a:schemeClr val="bg1"/>
              </a:solidFill>
            </a:endParaRPr>
          </a:p>
        </p:txBody>
      </p:sp>
      <p:sp>
        <p:nvSpPr>
          <p:cNvPr id="5" name="Metin kutusu 4"/>
          <p:cNvSpPr txBox="1"/>
          <p:nvPr/>
        </p:nvSpPr>
        <p:spPr>
          <a:xfrm>
            <a:off x="796413" y="1111045"/>
            <a:ext cx="10058400" cy="47981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tr-TR" dirty="0" err="1" smtClean="0">
              <a:solidFill>
                <a:srgbClr val="575757"/>
              </a:solidFill>
            </a:endParaRPr>
          </a:p>
        </p:txBody>
      </p:sp>
      <p:graphicFrame>
        <p:nvGraphicFramePr>
          <p:cNvPr id="11" name="Diyagram 10"/>
          <p:cNvGraphicFramePr/>
          <p:nvPr>
            <p:extLst>
              <p:ext uri="{D42A27DB-BD31-4B8C-83A1-F6EECF244321}">
                <p14:modId xmlns:p14="http://schemas.microsoft.com/office/powerpoint/2010/main" val="2710134744"/>
              </p:ext>
            </p:extLst>
          </p:nvPr>
        </p:nvGraphicFramePr>
        <p:xfrm>
          <a:off x="630000" y="984697"/>
          <a:ext cx="1093335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Komut Düğmesi: Giriş 3">
            <a:hlinkClick r:id="rId7" action="ppaction://hlinksldjump" highlightClick="1"/>
          </p:cNvPr>
          <p:cNvSpPr/>
          <p:nvPr/>
        </p:nvSpPr>
        <p:spPr>
          <a:xfrm>
            <a:off x="11789493" y="6319790"/>
            <a:ext cx="373011" cy="353961"/>
          </a:xfrm>
          <a:prstGeom prst="actionButtonHome">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tr-TR" sz="1200" dirty="0" smtClean="0">
              <a:solidFill>
                <a:srgbClr val="FFFFFF"/>
              </a:solidFill>
            </a:endParaRPr>
          </a:p>
        </p:txBody>
      </p:sp>
    </p:spTree>
    <p:extLst>
      <p:ext uri="{BB962C8B-B14F-4D97-AF65-F5344CB8AC3E}">
        <p14:creationId xmlns:p14="http://schemas.microsoft.com/office/powerpoint/2010/main" val="182815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b="1" dirty="0" err="1" smtClean="0"/>
              <a:t>Implementation</a:t>
            </a:r>
            <a:r>
              <a:rPr lang="tr-TR" b="1" dirty="0" smtClean="0"/>
              <a:t> </a:t>
            </a:r>
            <a:r>
              <a:rPr lang="tr-TR" b="1" dirty="0" err="1"/>
              <a:t>Phases</a:t>
            </a:r>
            <a:r>
              <a:rPr lang="tr-TR" b="1" dirty="0"/>
              <a:t> </a:t>
            </a:r>
            <a:r>
              <a:rPr lang="en-US" b="1" dirty="0">
                <a:solidFill>
                  <a:schemeClr val="bg1"/>
                </a:solidFill>
              </a:rPr>
              <a:t/>
            </a:r>
            <a:br>
              <a:rPr lang="en-US" b="1" dirty="0">
                <a:solidFill>
                  <a:schemeClr val="bg1"/>
                </a:solidFill>
              </a:rPr>
            </a:br>
            <a:endParaRPr lang="tr-TR" b="1" dirty="0">
              <a:solidFill>
                <a:schemeClr val="bg1"/>
              </a:solidFill>
            </a:endParaRPr>
          </a:p>
        </p:txBody>
      </p:sp>
      <p:sp>
        <p:nvSpPr>
          <p:cNvPr id="15" name="Dikdörtgen 14"/>
          <p:cNvSpPr/>
          <p:nvPr/>
        </p:nvSpPr>
        <p:spPr>
          <a:xfrm>
            <a:off x="5083194" y="1196371"/>
            <a:ext cx="1808276" cy="369332"/>
          </a:xfrm>
          <a:prstGeom prst="rect">
            <a:avLst/>
          </a:prstGeom>
        </p:spPr>
        <p:txBody>
          <a:bodyPr wrap="square">
            <a:spAutoFit/>
          </a:bodyPr>
          <a:lstStyle/>
          <a:p>
            <a:r>
              <a:rPr lang="en-US" b="1" dirty="0">
                <a:latin typeface="Calibri" panose="020F0502020204030204" pitchFamily="34" charset="0"/>
                <a:cs typeface="Calibri" panose="020F0502020204030204" pitchFamily="34" charset="0"/>
              </a:rPr>
              <a:t>Project </a:t>
            </a:r>
            <a:r>
              <a:rPr lang="en-US" b="1" dirty="0" smtClean="0">
                <a:latin typeface="Calibri" panose="020F0502020204030204" pitchFamily="34" charset="0"/>
                <a:cs typeface="Calibri" panose="020F0502020204030204" pitchFamily="34" charset="0"/>
              </a:rPr>
              <a:t>stage</a:t>
            </a:r>
            <a:r>
              <a:rPr lang="en-US" dirty="0" smtClean="0">
                <a:latin typeface="Calibri" panose="020F0502020204030204" pitchFamily="34" charset="0"/>
                <a:cs typeface="Calibri" panose="020F0502020204030204" pitchFamily="34" charset="0"/>
              </a:rPr>
              <a:t> </a:t>
            </a:r>
            <a:endParaRPr lang="tr-TR" dirty="0"/>
          </a:p>
        </p:txBody>
      </p:sp>
      <p:graphicFrame>
        <p:nvGraphicFramePr>
          <p:cNvPr id="16" name="Diyagram 15"/>
          <p:cNvGraphicFramePr/>
          <p:nvPr>
            <p:extLst>
              <p:ext uri="{D42A27DB-BD31-4B8C-83A1-F6EECF244321}">
                <p14:modId xmlns:p14="http://schemas.microsoft.com/office/powerpoint/2010/main" val="1232078494"/>
              </p:ext>
            </p:extLst>
          </p:nvPr>
        </p:nvGraphicFramePr>
        <p:xfrm>
          <a:off x="445309" y="1565703"/>
          <a:ext cx="11302731" cy="48820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Komut Düğmesi: Giriş 5">
            <a:hlinkClick r:id="rId7" action="ppaction://hlinksldjump" highlightClick="1"/>
          </p:cNvPr>
          <p:cNvSpPr/>
          <p:nvPr/>
        </p:nvSpPr>
        <p:spPr>
          <a:xfrm>
            <a:off x="11789493" y="6319790"/>
            <a:ext cx="373011" cy="353961"/>
          </a:xfrm>
          <a:prstGeom prst="actionButtonHome">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tr-TR" sz="1200" dirty="0" smtClean="0">
              <a:solidFill>
                <a:srgbClr val="FFFFFF"/>
              </a:solidFill>
            </a:endParaRPr>
          </a:p>
        </p:txBody>
      </p:sp>
    </p:spTree>
    <p:extLst>
      <p:ext uri="{BB962C8B-B14F-4D97-AF65-F5344CB8AC3E}">
        <p14:creationId xmlns:p14="http://schemas.microsoft.com/office/powerpoint/2010/main" val="193358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b="1" dirty="0" smtClean="0"/>
              <a:t>Project </a:t>
            </a:r>
            <a:r>
              <a:rPr lang="tr-TR" b="1" dirty="0" err="1" smtClean="0"/>
              <a:t>Timeline</a:t>
            </a:r>
            <a:r>
              <a:rPr lang="tr-TR" b="1" dirty="0" smtClean="0"/>
              <a:t> Framework</a:t>
            </a:r>
            <a:endParaRPr lang="tr-TR" b="1" dirty="0"/>
          </a:p>
        </p:txBody>
      </p:sp>
      <p:sp>
        <p:nvSpPr>
          <p:cNvPr id="3" name="Dikdörtgen 2"/>
          <p:cNvSpPr/>
          <p:nvPr/>
        </p:nvSpPr>
        <p:spPr>
          <a:xfrm>
            <a:off x="152400" y="1414923"/>
            <a:ext cx="1738361" cy="369332"/>
          </a:xfrm>
          <a:prstGeom prst="rect">
            <a:avLst/>
          </a:prstGeom>
        </p:spPr>
        <p:txBody>
          <a:bodyPr wrap="none">
            <a:spAutoFit/>
          </a:bodyPr>
          <a:lstStyle/>
          <a:p>
            <a:r>
              <a:rPr lang="en-US" b="1" dirty="0">
                <a:solidFill>
                  <a:schemeClr val="accent6">
                    <a:lumMod val="60000"/>
                    <a:lumOff val="40000"/>
                  </a:schemeClr>
                </a:solidFill>
                <a:latin typeface="Calibri" panose="020F0502020204030204" pitchFamily="34" charset="0"/>
                <a:cs typeface="Calibri" panose="020F0502020204030204" pitchFamily="34" charset="0"/>
              </a:rPr>
              <a:t>Project </a:t>
            </a:r>
            <a:r>
              <a:rPr lang="tr-TR" b="1" dirty="0">
                <a:solidFill>
                  <a:schemeClr val="accent6">
                    <a:lumMod val="60000"/>
                    <a:lumOff val="40000"/>
                  </a:schemeClr>
                </a:solidFill>
                <a:latin typeface="Calibri" panose="020F0502020204030204" pitchFamily="34" charset="0"/>
                <a:cs typeface="Calibri" panose="020F0502020204030204" pitchFamily="34" charset="0"/>
              </a:rPr>
              <a:t>T</a:t>
            </a:r>
            <a:r>
              <a:rPr lang="en-US" b="1" dirty="0" err="1" smtClean="0">
                <a:solidFill>
                  <a:schemeClr val="accent6">
                    <a:lumMod val="60000"/>
                    <a:lumOff val="40000"/>
                  </a:schemeClr>
                </a:solidFill>
                <a:latin typeface="Calibri" panose="020F0502020204030204" pitchFamily="34" charset="0"/>
                <a:cs typeface="Calibri" panose="020F0502020204030204" pitchFamily="34" charset="0"/>
              </a:rPr>
              <a:t>imeline</a:t>
            </a:r>
            <a:endParaRPr lang="tr-TR" b="1" dirty="0">
              <a:solidFill>
                <a:schemeClr val="accent6">
                  <a:lumMod val="60000"/>
                  <a:lumOff val="40000"/>
                </a:schemeClr>
              </a:solidFill>
              <a:latin typeface="Calibri" panose="020F0502020204030204" pitchFamily="34" charset="0"/>
              <a:cs typeface="Calibri" panose="020F0502020204030204" pitchFamily="34" charset="0"/>
            </a:endParaRPr>
          </a:p>
        </p:txBody>
      </p:sp>
      <p:graphicFrame>
        <p:nvGraphicFramePr>
          <p:cNvPr id="4" name="Diyagram 3"/>
          <p:cNvGraphicFramePr/>
          <p:nvPr>
            <p:extLst>
              <p:ext uri="{D42A27DB-BD31-4B8C-83A1-F6EECF244321}">
                <p14:modId xmlns:p14="http://schemas.microsoft.com/office/powerpoint/2010/main" val="1793875006"/>
              </p:ext>
            </p:extLst>
          </p:nvPr>
        </p:nvGraphicFramePr>
        <p:xfrm>
          <a:off x="477068" y="5070906"/>
          <a:ext cx="11391176" cy="64727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Dikdörtgen 4"/>
          <p:cNvSpPr/>
          <p:nvPr/>
        </p:nvSpPr>
        <p:spPr>
          <a:xfrm>
            <a:off x="152400" y="5521993"/>
            <a:ext cx="10958039" cy="646331"/>
          </a:xfrm>
          <a:prstGeom prst="rect">
            <a:avLst/>
          </a:prstGeom>
        </p:spPr>
        <p:txBody>
          <a:bodyPr wrap="square">
            <a:spAutoFit/>
          </a:bodyPr>
          <a:lstStyle/>
          <a:p>
            <a:endParaRPr lang="tr-TR" b="1" dirty="0">
              <a:solidFill>
                <a:schemeClr val="accent6">
                  <a:lumMod val="60000"/>
                  <a:lumOff val="40000"/>
                </a:schemeClr>
              </a:solidFill>
              <a:latin typeface="Calibri" panose="020F0502020204030204" pitchFamily="34" charset="0"/>
              <a:cs typeface="Calibri" panose="020F0502020204030204" pitchFamily="34" charset="0"/>
            </a:endParaRPr>
          </a:p>
          <a:p>
            <a:r>
              <a:rPr lang="tr-TR" b="1" dirty="0" smtClean="0">
                <a:solidFill>
                  <a:schemeClr val="accent6">
                    <a:lumMod val="60000"/>
                    <a:lumOff val="40000"/>
                  </a:schemeClr>
                </a:solidFill>
                <a:latin typeface="Calibri" panose="020F0502020204030204" pitchFamily="34" charset="0"/>
                <a:cs typeface="Calibri" panose="020F0502020204030204" pitchFamily="34" charset="0"/>
              </a:rPr>
              <a:t>2023/2024 ─────────────2025 ────────────────2026 /2027────────────2025–2035────────────2053</a:t>
            </a:r>
            <a:endParaRPr lang="tr-TR" b="1" dirty="0">
              <a:solidFill>
                <a:schemeClr val="accent6">
                  <a:lumMod val="60000"/>
                  <a:lumOff val="40000"/>
                </a:schemeClr>
              </a:solidFill>
              <a:latin typeface="Calibri" panose="020F0502020204030204" pitchFamily="34" charset="0"/>
              <a:cs typeface="Calibri" panose="020F0502020204030204" pitchFamily="34" charset="0"/>
            </a:endParaRPr>
          </a:p>
        </p:txBody>
      </p:sp>
      <p:sp>
        <p:nvSpPr>
          <p:cNvPr id="8" name="Komut Düğmesi: Giriş 7">
            <a:hlinkClick r:id="rId7" action="ppaction://hlinksldjump" highlightClick="1"/>
          </p:cNvPr>
          <p:cNvSpPr/>
          <p:nvPr/>
        </p:nvSpPr>
        <p:spPr>
          <a:xfrm>
            <a:off x="11789493" y="6319790"/>
            <a:ext cx="373011" cy="353961"/>
          </a:xfrm>
          <a:prstGeom prst="actionButtonHome">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tr-TR" sz="1200" dirty="0" smtClean="0">
              <a:solidFill>
                <a:srgbClr val="FFFFFF"/>
              </a:solidFill>
            </a:endParaRPr>
          </a:p>
        </p:txBody>
      </p:sp>
    </p:spTree>
    <p:extLst>
      <p:ext uri="{BB962C8B-B14F-4D97-AF65-F5344CB8AC3E}">
        <p14:creationId xmlns:p14="http://schemas.microsoft.com/office/powerpoint/2010/main" val="4076172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b="1" dirty="0" err="1" smtClean="0"/>
              <a:t>Core</a:t>
            </a:r>
            <a:r>
              <a:rPr lang="tr-TR" b="1" dirty="0" smtClean="0"/>
              <a:t> </a:t>
            </a:r>
            <a:r>
              <a:rPr lang="tr-TR" b="1" dirty="0"/>
              <a:t>Information &amp; </a:t>
            </a:r>
            <a:r>
              <a:rPr lang="tr-TR" b="1" dirty="0" err="1"/>
              <a:t>Structure</a:t>
            </a:r>
            <a:r>
              <a:rPr lang="en-US" b="1" dirty="0" smtClean="0">
                <a:solidFill>
                  <a:schemeClr val="bg1"/>
                </a:solidFill>
              </a:rPr>
              <a:t/>
            </a:r>
            <a:br>
              <a:rPr lang="en-US" b="1" dirty="0" smtClean="0">
                <a:solidFill>
                  <a:schemeClr val="bg1"/>
                </a:solidFill>
              </a:rPr>
            </a:br>
            <a:endParaRPr lang="tr-TR" b="1" dirty="0">
              <a:solidFill>
                <a:schemeClr val="bg1"/>
              </a:solidFill>
            </a:endParaRPr>
          </a:p>
        </p:txBody>
      </p:sp>
      <p:sp>
        <p:nvSpPr>
          <p:cNvPr id="4" name="Dikdörtgen 3"/>
          <p:cNvSpPr/>
          <p:nvPr/>
        </p:nvSpPr>
        <p:spPr>
          <a:xfrm>
            <a:off x="6329161" y="3389547"/>
            <a:ext cx="5799424" cy="1815882"/>
          </a:xfrm>
          <a:prstGeom prst="rect">
            <a:avLst/>
          </a:prstGeom>
          <a:ln w="28575">
            <a:solidFill>
              <a:schemeClr val="tx2">
                <a:lumMod val="20000"/>
                <a:lumOff val="80000"/>
              </a:schemeClr>
            </a:solidFill>
          </a:ln>
        </p:spPr>
        <p:txBody>
          <a:bodyPr wrap="square">
            <a:spAutoFit/>
          </a:bodyPr>
          <a:lstStyle/>
          <a:p>
            <a:pPr algn="just"/>
            <a:r>
              <a:rPr lang="en-US" sz="1400" dirty="0" smtClean="0">
                <a:latin typeface="Calibri" panose="020F0502020204030204" pitchFamily="34" charset="0"/>
                <a:cs typeface="Calibri" panose="020F0502020204030204" pitchFamily="34" charset="0"/>
              </a:rPr>
              <a:t>As </a:t>
            </a:r>
            <a:r>
              <a:rPr lang="en-US" sz="1400" dirty="0" err="1">
                <a:latin typeface="Calibri" panose="020F0502020204030204" pitchFamily="34" charset="0"/>
                <a:cs typeface="Calibri" panose="020F0502020204030204" pitchFamily="34" charset="0"/>
              </a:rPr>
              <a:t>Türkiye’s</a:t>
            </a:r>
            <a:r>
              <a:rPr lang="en-US" sz="1400" dirty="0">
                <a:latin typeface="Calibri" panose="020F0502020204030204" pitchFamily="34" charset="0"/>
                <a:cs typeface="Calibri" panose="020F0502020204030204" pitchFamily="34" charset="0"/>
              </a:rPr>
              <a:t> UNFCCC </a:t>
            </a:r>
            <a:r>
              <a:rPr lang="en-US" sz="1400" dirty="0" smtClean="0">
                <a:latin typeface="Calibri" panose="020F0502020204030204" pitchFamily="34" charset="0"/>
                <a:cs typeface="Calibri" panose="020F0502020204030204" pitchFamily="34" charset="0"/>
              </a:rPr>
              <a:t>Focal </a:t>
            </a:r>
            <a:r>
              <a:rPr lang="en-US" sz="1400" dirty="0">
                <a:latin typeface="Calibri" panose="020F0502020204030204" pitchFamily="34" charset="0"/>
                <a:cs typeface="Calibri" panose="020F0502020204030204" pitchFamily="34" charset="0"/>
              </a:rPr>
              <a:t>Point, the Directorate of Climate Change leads on mitigation, NDCs, LTS, and BTRs. </a:t>
            </a:r>
            <a:endParaRPr lang="tr-TR" sz="1400" dirty="0" smtClean="0">
              <a:latin typeface="Calibri" panose="020F0502020204030204" pitchFamily="34" charset="0"/>
              <a:cs typeface="Calibri" panose="020F0502020204030204" pitchFamily="34" charset="0"/>
            </a:endParaRPr>
          </a:p>
          <a:p>
            <a:pPr algn="just"/>
            <a:endParaRPr lang="tr-TR" sz="1400" dirty="0" smtClean="0">
              <a:latin typeface="Calibri" panose="020F0502020204030204" pitchFamily="34" charset="0"/>
              <a:cs typeface="Calibri" panose="020F0502020204030204" pitchFamily="34" charset="0"/>
            </a:endParaRPr>
          </a:p>
          <a:p>
            <a:pPr algn="just"/>
            <a:r>
              <a:rPr lang="en-US" sz="1400" dirty="0">
                <a:latin typeface="Calibri" panose="020F0502020204030204" pitchFamily="34" charset="0"/>
                <a:cs typeface="Calibri" panose="020F0502020204030204" pitchFamily="34" charset="0"/>
              </a:rPr>
              <a:t>The Directorate of Climate Change, </a:t>
            </a:r>
            <a:r>
              <a:rPr lang="en-US" sz="1400" dirty="0" smtClean="0">
                <a:latin typeface="Calibri" panose="020F0502020204030204" pitchFamily="34" charset="0"/>
                <a:cs typeface="Calibri" panose="020F0502020204030204" pitchFamily="34" charset="0"/>
              </a:rPr>
              <a:t>works </a:t>
            </a:r>
            <a:r>
              <a:rPr lang="en-US" sz="1400" dirty="0">
                <a:latin typeface="Calibri" panose="020F0502020204030204" pitchFamily="34" charset="0"/>
                <a:cs typeface="Calibri" panose="020F0502020204030204" pitchFamily="34" charset="0"/>
              </a:rPr>
              <a:t>strictly within its mandate and does not overlap with the technical responsibilities of agriculture or forestry institutions. </a:t>
            </a:r>
            <a:r>
              <a:rPr lang="en-US" sz="1400" dirty="0" smtClean="0">
                <a:latin typeface="Calibri" panose="020F0502020204030204" pitchFamily="34" charset="0"/>
                <a:cs typeface="Calibri" panose="020F0502020204030204" pitchFamily="34" charset="0"/>
              </a:rPr>
              <a:t>In the same way, the </a:t>
            </a:r>
            <a:r>
              <a:rPr lang="en-US" sz="1400" dirty="0">
                <a:latin typeface="Calibri" panose="020F0502020204030204" pitchFamily="34" charset="0"/>
                <a:cs typeface="Calibri" panose="020F0502020204030204" pitchFamily="34" charset="0"/>
              </a:rPr>
              <a:t>project proposal is designed to avoid any overlap with sectoral mandates, focusing instead on coordination, integration, and capacity building</a:t>
            </a:r>
            <a:r>
              <a:rPr lang="en-US" sz="1400" dirty="0" smtClean="0">
                <a:latin typeface="Calibri" panose="020F0502020204030204" pitchFamily="34" charset="0"/>
                <a:cs typeface="Calibri" panose="020F0502020204030204" pitchFamily="34" charset="0"/>
              </a:rPr>
              <a:t>.</a:t>
            </a:r>
            <a:endParaRPr lang="tr-TR" sz="1400" dirty="0">
              <a:latin typeface="Calibri" panose="020F0502020204030204" pitchFamily="34" charset="0"/>
              <a:cs typeface="Calibri" panose="020F0502020204030204" pitchFamily="34" charset="0"/>
            </a:endParaRPr>
          </a:p>
        </p:txBody>
      </p:sp>
      <p:graphicFrame>
        <p:nvGraphicFramePr>
          <p:cNvPr id="6" name="Diyagram 5"/>
          <p:cNvGraphicFramePr/>
          <p:nvPr>
            <p:extLst>
              <p:ext uri="{D42A27DB-BD31-4B8C-83A1-F6EECF244321}">
                <p14:modId xmlns:p14="http://schemas.microsoft.com/office/powerpoint/2010/main" val="3741907892"/>
              </p:ext>
            </p:extLst>
          </p:nvPr>
        </p:nvGraphicFramePr>
        <p:xfrm>
          <a:off x="-55931" y="2049127"/>
          <a:ext cx="6857325" cy="38762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Dikdörtgen 6"/>
          <p:cNvSpPr/>
          <p:nvPr/>
        </p:nvSpPr>
        <p:spPr>
          <a:xfrm>
            <a:off x="6329160" y="1109127"/>
            <a:ext cx="5799425" cy="2246769"/>
          </a:xfrm>
          <a:prstGeom prst="rect">
            <a:avLst/>
          </a:prstGeom>
          <a:ln w="28575">
            <a:solidFill>
              <a:schemeClr val="tx2">
                <a:lumMod val="20000"/>
                <a:lumOff val="80000"/>
              </a:schemeClr>
            </a:solidFill>
          </a:ln>
        </p:spPr>
        <p:txBody>
          <a:bodyPr wrap="square">
            <a:spAutoFit/>
          </a:bodyPr>
          <a:lstStyle/>
          <a:p>
            <a:pPr algn="just"/>
            <a:r>
              <a:rPr lang="en-US" sz="1400" dirty="0">
                <a:latin typeface="Calibri" panose="020F0502020204030204" pitchFamily="34" charset="0"/>
                <a:cs typeface="Calibri" panose="020F0502020204030204" pitchFamily="34" charset="0"/>
              </a:rPr>
              <a:t>The AFOLU sector is </a:t>
            </a:r>
            <a:r>
              <a:rPr lang="en-US" sz="1400" b="1" dirty="0">
                <a:latin typeface="Calibri" panose="020F0502020204030204" pitchFamily="34" charset="0"/>
                <a:cs typeface="Calibri" panose="020F0502020204030204" pitchFamily="34" charset="0"/>
              </a:rPr>
              <a:t>central to </a:t>
            </a:r>
            <a:r>
              <a:rPr lang="en-US" sz="1400" b="1" dirty="0" err="1">
                <a:latin typeface="Calibri" panose="020F0502020204030204" pitchFamily="34" charset="0"/>
                <a:cs typeface="Calibri" panose="020F0502020204030204" pitchFamily="34" charset="0"/>
              </a:rPr>
              <a:t>Türkiye’s</a:t>
            </a:r>
            <a:r>
              <a:rPr lang="en-US" sz="1400" b="1" dirty="0">
                <a:latin typeface="Calibri" panose="020F0502020204030204" pitchFamily="34" charset="0"/>
                <a:cs typeface="Calibri" panose="020F0502020204030204" pitchFamily="34" charset="0"/>
              </a:rPr>
              <a:t> mitigation architecture </a:t>
            </a:r>
            <a:r>
              <a:rPr lang="en-US" sz="1400" dirty="0">
                <a:latin typeface="Calibri" panose="020F0502020204030204" pitchFamily="34" charset="0"/>
                <a:cs typeface="Calibri" panose="020F0502020204030204" pitchFamily="34" charset="0"/>
              </a:rPr>
              <a:t>given its </a:t>
            </a:r>
            <a:r>
              <a:rPr lang="en-US" sz="1400" b="1" dirty="0">
                <a:latin typeface="Calibri" panose="020F0502020204030204" pitchFamily="34" charset="0"/>
                <a:cs typeface="Calibri" panose="020F0502020204030204" pitchFamily="34" charset="0"/>
              </a:rPr>
              <a:t>carbon sink capacity and emission reduction potential. </a:t>
            </a:r>
            <a:endParaRPr lang="tr-TR" sz="1400" b="1" dirty="0" smtClean="0">
              <a:latin typeface="Calibri" panose="020F0502020204030204" pitchFamily="34" charset="0"/>
              <a:cs typeface="Calibri" panose="020F0502020204030204" pitchFamily="34" charset="0"/>
            </a:endParaRPr>
          </a:p>
          <a:p>
            <a:pPr algn="just"/>
            <a:endParaRPr lang="tr-TR" sz="1400" dirty="0">
              <a:latin typeface="Calibri" panose="020F0502020204030204" pitchFamily="34" charset="0"/>
              <a:cs typeface="Calibri" panose="020F0502020204030204" pitchFamily="34" charset="0"/>
            </a:endParaRPr>
          </a:p>
          <a:p>
            <a:pPr algn="just"/>
            <a:r>
              <a:rPr lang="en-US" sz="1400" dirty="0" smtClean="0">
                <a:latin typeface="Calibri" panose="020F0502020204030204" pitchFamily="34" charset="0"/>
                <a:cs typeface="Calibri" panose="020F0502020204030204" pitchFamily="34" charset="0"/>
              </a:rPr>
              <a:t>This </a:t>
            </a:r>
            <a:r>
              <a:rPr lang="en-US" sz="1400" dirty="0">
                <a:latin typeface="Calibri" panose="020F0502020204030204" pitchFamily="34" charset="0"/>
                <a:cs typeface="Calibri" panose="020F0502020204030204" pitchFamily="34" charset="0"/>
              </a:rPr>
              <a:t>project builds </a:t>
            </a:r>
            <a:r>
              <a:rPr lang="en-US" sz="1400" b="1" dirty="0">
                <a:latin typeface="Calibri" panose="020F0502020204030204" pitchFamily="34" charset="0"/>
                <a:cs typeface="Calibri" panose="020F0502020204030204" pitchFamily="34" charset="0"/>
              </a:rPr>
              <a:t>readiness for AFOLU integration</a:t>
            </a:r>
            <a:r>
              <a:rPr lang="en-US" sz="1400" dirty="0">
                <a:latin typeface="Calibri" panose="020F0502020204030204" pitchFamily="34" charset="0"/>
                <a:cs typeface="Calibri" panose="020F0502020204030204" pitchFamily="34" charset="0"/>
              </a:rPr>
              <a:t> into NDCs by strengthening data quality, </a:t>
            </a:r>
            <a:r>
              <a:rPr lang="en-US" sz="1400" b="1" dirty="0">
                <a:latin typeface="Calibri" panose="020F0502020204030204" pitchFamily="34" charset="0"/>
                <a:cs typeface="Calibri" panose="020F0502020204030204" pitchFamily="34" charset="0"/>
              </a:rPr>
              <a:t>enhancing synergies between agriculture and forestry</a:t>
            </a:r>
            <a:r>
              <a:rPr lang="en-US" sz="1400" dirty="0">
                <a:latin typeface="Calibri" panose="020F0502020204030204" pitchFamily="34" charset="0"/>
                <a:cs typeface="Calibri" panose="020F0502020204030204" pitchFamily="34" charset="0"/>
              </a:rPr>
              <a:t>, and developing long-term modeling frameworks such as CLEWS</a:t>
            </a:r>
            <a:r>
              <a:rPr lang="en-US" sz="1400" dirty="0" smtClean="0">
                <a:latin typeface="Calibri" panose="020F0502020204030204" pitchFamily="34" charset="0"/>
                <a:cs typeface="Calibri" panose="020F0502020204030204" pitchFamily="34" charset="0"/>
              </a:rPr>
              <a:t>.</a:t>
            </a:r>
            <a:endParaRPr lang="tr-TR" sz="1400" dirty="0" smtClean="0">
              <a:latin typeface="Calibri" panose="020F0502020204030204" pitchFamily="34" charset="0"/>
              <a:cs typeface="Calibri" panose="020F0502020204030204" pitchFamily="34" charset="0"/>
            </a:endParaRPr>
          </a:p>
          <a:p>
            <a:pPr algn="just"/>
            <a:endParaRPr lang="tr-TR" sz="1400" dirty="0">
              <a:latin typeface="Calibri" panose="020F0502020204030204" pitchFamily="34" charset="0"/>
              <a:cs typeface="Calibri" panose="020F0502020204030204" pitchFamily="34" charset="0"/>
            </a:endParaRPr>
          </a:p>
          <a:p>
            <a:pPr algn="just"/>
            <a:r>
              <a:rPr lang="en-US" sz="1400" dirty="0" smtClean="0">
                <a:latin typeface="Calibri" panose="020F0502020204030204" pitchFamily="34" charset="0"/>
                <a:cs typeface="Calibri" panose="020F0502020204030204" pitchFamily="34" charset="0"/>
              </a:rPr>
              <a:t>As </a:t>
            </a:r>
            <a:r>
              <a:rPr lang="en-US" sz="1400" dirty="0">
                <a:latin typeface="Calibri" panose="020F0502020204030204" pitchFamily="34" charset="0"/>
                <a:cs typeface="Calibri" panose="020F0502020204030204" pitchFamily="34" charset="0"/>
              </a:rPr>
              <a:t>a capacity building program, it </a:t>
            </a:r>
            <a:r>
              <a:rPr lang="en-US" sz="1400" b="1" dirty="0">
                <a:latin typeface="Calibri" panose="020F0502020204030204" pitchFamily="34" charset="0"/>
                <a:cs typeface="Calibri" panose="020F0502020204030204" pitchFamily="34" charset="0"/>
              </a:rPr>
              <a:t>supports institutional coordination and national expertise </a:t>
            </a:r>
            <a:r>
              <a:rPr lang="en-US" sz="1400" dirty="0">
                <a:latin typeface="Calibri" panose="020F0502020204030204" pitchFamily="34" charset="0"/>
                <a:cs typeface="Calibri" panose="020F0502020204030204" pitchFamily="34" charset="0"/>
              </a:rPr>
              <a:t>to ensure AFOLU is fully reflected in national climate policy and accounting processes, in line with the 2053 net-zero target.</a:t>
            </a:r>
          </a:p>
        </p:txBody>
      </p:sp>
      <p:sp>
        <p:nvSpPr>
          <p:cNvPr id="8" name="Dikdörtgen 7"/>
          <p:cNvSpPr/>
          <p:nvPr/>
        </p:nvSpPr>
        <p:spPr>
          <a:xfrm>
            <a:off x="3000727" y="5628191"/>
            <a:ext cx="2855542" cy="646331"/>
          </a:xfrm>
          <a:prstGeom prst="rect">
            <a:avLst/>
          </a:prstGeom>
          <a:ln w="28575">
            <a:solidFill>
              <a:schemeClr val="accent1"/>
            </a:solidFill>
            <a:prstDash val="dash"/>
          </a:ln>
        </p:spPr>
        <p:txBody>
          <a:bodyPr wrap="square">
            <a:spAutoFit/>
          </a:bodyPr>
          <a:lstStyle/>
          <a:p>
            <a:r>
              <a:rPr lang="en-US" sz="1200" b="1" dirty="0">
                <a:latin typeface="Calibri" panose="020F0502020204030204" pitchFamily="34" charset="0"/>
                <a:cs typeface="Calibri" panose="020F0502020204030204" pitchFamily="34" charset="0"/>
              </a:rPr>
              <a:t>Total Project Cost:</a:t>
            </a:r>
            <a:r>
              <a:rPr lang="en-US" sz="1200" dirty="0">
                <a:latin typeface="Calibri" panose="020F0502020204030204" pitchFamily="34" charset="0"/>
                <a:cs typeface="Calibri" panose="020F0502020204030204" pitchFamily="34" charset="0"/>
              </a:rPr>
              <a:t> </a:t>
            </a:r>
            <a:r>
              <a:rPr lang="tr-TR" sz="1200" dirty="0" smtClean="0">
                <a:latin typeface="Calibri" panose="020F0502020204030204" pitchFamily="34" charset="0"/>
                <a:cs typeface="Calibri" panose="020F0502020204030204" pitchFamily="34" charset="0"/>
              </a:rPr>
              <a:t>$ </a:t>
            </a:r>
            <a:r>
              <a:rPr lang="en-US" sz="1200" dirty="0" smtClean="0">
                <a:latin typeface="Calibri" panose="020F0502020204030204" pitchFamily="34" charset="0"/>
                <a:cs typeface="Calibri" panose="020F0502020204030204" pitchFamily="34" charset="0"/>
              </a:rPr>
              <a:t>2,000,000</a:t>
            </a:r>
            <a:r>
              <a:rPr lang="en-US" sz="1200" dirty="0">
                <a:latin typeface="Calibri" panose="020F0502020204030204" pitchFamily="34" charset="0"/>
                <a:cs typeface="Calibri" panose="020F0502020204030204" pitchFamily="34" charset="0"/>
              </a:rPr>
              <a:t/>
            </a:r>
            <a:br>
              <a:rPr lang="en-US" sz="1200" dirty="0">
                <a:latin typeface="Calibri" panose="020F0502020204030204" pitchFamily="34" charset="0"/>
                <a:cs typeface="Calibri" panose="020F0502020204030204" pitchFamily="34" charset="0"/>
              </a:rPr>
            </a:br>
            <a:r>
              <a:rPr lang="en-US" sz="1200" b="1" dirty="0">
                <a:latin typeface="Calibri" panose="020F0502020204030204" pitchFamily="34" charset="0"/>
                <a:cs typeface="Calibri" panose="020F0502020204030204" pitchFamily="34" charset="0"/>
              </a:rPr>
              <a:t>Funding Requested:</a:t>
            </a:r>
            <a:r>
              <a:rPr lang="en-US" sz="1200" dirty="0">
                <a:latin typeface="Calibri" panose="020F0502020204030204" pitchFamily="34" charset="0"/>
                <a:cs typeface="Calibri" panose="020F0502020204030204" pitchFamily="34" charset="0"/>
              </a:rPr>
              <a:t> </a:t>
            </a:r>
            <a:r>
              <a:rPr lang="tr-TR" sz="1200" dirty="0" smtClean="0">
                <a:latin typeface="Calibri" panose="020F0502020204030204" pitchFamily="34" charset="0"/>
                <a:cs typeface="Calibri" panose="020F0502020204030204" pitchFamily="34" charset="0"/>
              </a:rPr>
              <a:t>$ </a:t>
            </a:r>
            <a:r>
              <a:rPr lang="en-US" sz="1200" dirty="0" smtClean="0">
                <a:latin typeface="Calibri" panose="020F0502020204030204" pitchFamily="34" charset="0"/>
                <a:cs typeface="Calibri" panose="020F0502020204030204" pitchFamily="34" charset="0"/>
              </a:rPr>
              <a:t>2,000,000 </a:t>
            </a:r>
            <a:r>
              <a:rPr lang="en-US" sz="1200" dirty="0">
                <a:latin typeface="Calibri" panose="020F0502020204030204" pitchFamily="34" charset="0"/>
                <a:cs typeface="Calibri" panose="020F0502020204030204" pitchFamily="34" charset="0"/>
              </a:rPr>
              <a:t>(Grant)</a:t>
            </a:r>
            <a:br>
              <a:rPr lang="en-US" sz="1200" dirty="0">
                <a:latin typeface="Calibri" panose="020F0502020204030204" pitchFamily="34" charset="0"/>
                <a:cs typeface="Calibri" panose="020F0502020204030204" pitchFamily="34" charset="0"/>
              </a:rPr>
            </a:br>
            <a:r>
              <a:rPr lang="en-US" sz="1200" b="1" dirty="0">
                <a:latin typeface="Calibri" panose="020F0502020204030204" pitchFamily="34" charset="0"/>
                <a:cs typeface="Calibri" panose="020F0502020204030204" pitchFamily="34" charset="0"/>
              </a:rPr>
              <a:t>Co-financing:</a:t>
            </a:r>
            <a:r>
              <a:rPr lang="en-US" sz="1200" dirty="0">
                <a:latin typeface="Calibri" panose="020F0502020204030204" pitchFamily="34" charset="0"/>
                <a:cs typeface="Calibri" panose="020F0502020204030204" pitchFamily="34" charset="0"/>
              </a:rPr>
              <a:t> None</a:t>
            </a:r>
            <a:endParaRPr lang="tr-TR" sz="1200" dirty="0">
              <a:latin typeface="Calibri" panose="020F0502020204030204" pitchFamily="34" charset="0"/>
              <a:cs typeface="Calibri" panose="020F0502020204030204" pitchFamily="34" charset="0"/>
            </a:endParaRPr>
          </a:p>
        </p:txBody>
      </p:sp>
      <p:sp>
        <p:nvSpPr>
          <p:cNvPr id="9" name="Dikdörtgen 8"/>
          <p:cNvSpPr/>
          <p:nvPr/>
        </p:nvSpPr>
        <p:spPr>
          <a:xfrm>
            <a:off x="6329161" y="5151138"/>
            <a:ext cx="5799426" cy="1600438"/>
          </a:xfrm>
          <a:prstGeom prst="rect">
            <a:avLst/>
          </a:prstGeom>
          <a:ln w="28575">
            <a:solidFill>
              <a:schemeClr val="tx2">
                <a:lumMod val="20000"/>
                <a:lumOff val="80000"/>
              </a:schemeClr>
            </a:solidFill>
          </a:ln>
        </p:spPr>
        <p:txBody>
          <a:bodyPr wrap="square">
            <a:spAutoFit/>
          </a:bodyPr>
          <a:lstStyle/>
          <a:p>
            <a:pPr algn="just"/>
            <a:r>
              <a:rPr lang="en-US" sz="1400" dirty="0">
                <a:latin typeface="Calibri" panose="020F0502020204030204" pitchFamily="34" charset="0"/>
                <a:cs typeface="Calibri" panose="020F0502020204030204" pitchFamily="34" charset="0"/>
              </a:rPr>
              <a:t>The project requires full international grant support. Its </a:t>
            </a:r>
            <a:r>
              <a:rPr lang="en-US" sz="1400" b="1" dirty="0">
                <a:latin typeface="Calibri" panose="020F0502020204030204" pitchFamily="34" charset="0"/>
                <a:cs typeface="Calibri" panose="020F0502020204030204" pitchFamily="34" charset="0"/>
              </a:rPr>
              <a:t>outputs—capacity building, expert training, and policy integration</a:t>
            </a:r>
            <a:r>
              <a:rPr lang="en-US" sz="1400" dirty="0">
                <a:latin typeface="Calibri" panose="020F0502020204030204" pitchFamily="34" charset="0"/>
                <a:cs typeface="Calibri" panose="020F0502020204030204" pitchFamily="34" charset="0"/>
              </a:rPr>
              <a:t>—are public goods with no revenue stream, making them unsuitable for loans or private financing. National budgets prioritize subsidies, infrastructure, and disaster response, leaving no allocation for long-term AFOLU capacity development. </a:t>
            </a:r>
            <a:r>
              <a:rPr lang="en-US" sz="1400" b="1" dirty="0">
                <a:latin typeface="Calibri" panose="020F0502020204030204" pitchFamily="34" charset="0"/>
                <a:cs typeface="Calibri" panose="020F0502020204030204" pitchFamily="34" charset="0"/>
              </a:rPr>
              <a:t>Therefore, international funding is essential to enable NDC implementation, LTS 2053, and ETF reporting.</a:t>
            </a:r>
          </a:p>
        </p:txBody>
      </p:sp>
      <p:cxnSp>
        <p:nvCxnSpPr>
          <p:cNvPr id="11" name="Düz Ok Bağlayıcısı 10"/>
          <p:cNvCxnSpPr>
            <a:stCxn id="8" idx="3"/>
            <a:endCxn id="9" idx="1"/>
          </p:cNvCxnSpPr>
          <p:nvPr/>
        </p:nvCxnSpPr>
        <p:spPr>
          <a:xfrm>
            <a:off x="5856269" y="5951357"/>
            <a:ext cx="472892" cy="0"/>
          </a:xfrm>
          <a:prstGeom prst="straightConnector1">
            <a:avLst/>
          </a:prstGeom>
          <a:ln w="28575">
            <a:solidFill>
              <a:schemeClr val="accent1"/>
            </a:solidFill>
            <a:tailEnd type="triangle"/>
          </a:ln>
        </p:spPr>
        <p:style>
          <a:lnRef idx="2">
            <a:schemeClr val="accent4"/>
          </a:lnRef>
          <a:fillRef idx="0">
            <a:schemeClr val="accent4"/>
          </a:fillRef>
          <a:effectRef idx="1">
            <a:schemeClr val="accent4"/>
          </a:effectRef>
          <a:fontRef idx="minor">
            <a:schemeClr val="tx1"/>
          </a:fontRef>
        </p:style>
      </p:cxnSp>
      <p:cxnSp>
        <p:nvCxnSpPr>
          <p:cNvPr id="17" name="Eğri Bağlayıcı 16"/>
          <p:cNvCxnSpPr/>
          <p:nvPr/>
        </p:nvCxnSpPr>
        <p:spPr>
          <a:xfrm>
            <a:off x="5250426" y="3519948"/>
            <a:ext cx="1032387" cy="678426"/>
          </a:xfrm>
          <a:prstGeom prst="curvedConnector3">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Eğri Bağlayıcı 19"/>
          <p:cNvCxnSpPr/>
          <p:nvPr/>
        </p:nvCxnSpPr>
        <p:spPr>
          <a:xfrm flipV="1">
            <a:off x="4552335" y="1533832"/>
            <a:ext cx="1730478" cy="845574"/>
          </a:xfrm>
          <a:prstGeom prst="curvedConnector3">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Komut Düğmesi: Giriş 15">
            <a:hlinkClick r:id="rId7" action="ppaction://hlinksldjump" highlightClick="1"/>
          </p:cNvPr>
          <p:cNvSpPr/>
          <p:nvPr/>
        </p:nvSpPr>
        <p:spPr>
          <a:xfrm>
            <a:off x="11769829" y="6437774"/>
            <a:ext cx="373011" cy="353961"/>
          </a:xfrm>
          <a:prstGeom prst="actionButtonHome">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tr-TR" sz="1200" dirty="0" smtClean="0">
              <a:solidFill>
                <a:srgbClr val="FFFFFF"/>
              </a:solidFill>
            </a:endParaRPr>
          </a:p>
        </p:txBody>
      </p:sp>
    </p:spTree>
    <p:extLst>
      <p:ext uri="{BB962C8B-B14F-4D97-AF65-F5344CB8AC3E}">
        <p14:creationId xmlns:p14="http://schemas.microsoft.com/office/powerpoint/2010/main" val="1160959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b="1" dirty="0">
                <a:solidFill>
                  <a:schemeClr val="bg1"/>
                </a:solidFill>
              </a:rPr>
              <a:t>Climate </a:t>
            </a:r>
            <a:r>
              <a:rPr lang="tr-TR" b="1" dirty="0">
                <a:solidFill>
                  <a:schemeClr val="bg1"/>
                </a:solidFill>
              </a:rPr>
              <a:t>I</a:t>
            </a:r>
            <a:r>
              <a:rPr lang="en-US" b="1" dirty="0" err="1" smtClean="0">
                <a:solidFill>
                  <a:schemeClr val="bg1"/>
                </a:solidFill>
              </a:rPr>
              <a:t>mpact</a:t>
            </a:r>
            <a:r>
              <a:rPr lang="en-US" b="1" dirty="0">
                <a:solidFill>
                  <a:schemeClr val="bg1"/>
                </a:solidFill>
              </a:rPr>
              <a:t/>
            </a:r>
            <a:br>
              <a:rPr lang="en-US" b="1" dirty="0">
                <a:solidFill>
                  <a:schemeClr val="bg1"/>
                </a:solidFill>
              </a:rPr>
            </a:br>
            <a:endParaRPr lang="tr-TR" b="1" dirty="0">
              <a:solidFill>
                <a:schemeClr val="bg1"/>
              </a:solidFill>
            </a:endParaRPr>
          </a:p>
        </p:txBody>
      </p:sp>
      <p:grpSp>
        <p:nvGrpSpPr>
          <p:cNvPr id="11" name="Grup 10"/>
          <p:cNvGrpSpPr/>
          <p:nvPr/>
        </p:nvGrpSpPr>
        <p:grpSpPr>
          <a:xfrm>
            <a:off x="1042587" y="1053970"/>
            <a:ext cx="10106826" cy="1899808"/>
            <a:chOff x="0" y="-58992"/>
            <a:chExt cx="10106826" cy="1899808"/>
          </a:xfrm>
        </p:grpSpPr>
        <p:sp>
          <p:nvSpPr>
            <p:cNvPr id="21" name="Yuvarlatılmış Dikdörtgen 20"/>
            <p:cNvSpPr/>
            <p:nvPr/>
          </p:nvSpPr>
          <p:spPr>
            <a:xfrm>
              <a:off x="0" y="-58992"/>
              <a:ext cx="10106826" cy="1693333"/>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2" name="Yuvarlatılmış Dikdörtgen 4"/>
            <p:cNvSpPr txBox="1"/>
            <p:nvPr/>
          </p:nvSpPr>
          <p:spPr>
            <a:xfrm>
              <a:off x="2190698" y="147483"/>
              <a:ext cx="7916127" cy="16933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lvl="0" algn="l" defTabSz="800100" rtl="0">
                <a:lnSpc>
                  <a:spcPct val="90000"/>
                </a:lnSpc>
                <a:spcBef>
                  <a:spcPct val="0"/>
                </a:spcBef>
                <a:spcAft>
                  <a:spcPct val="35000"/>
                </a:spcAft>
              </a:pPr>
              <a:r>
                <a:rPr kumimoji="0" lang="tr-TR" altLang="tr-TR" sz="1800" b="1"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Impact</a:t>
              </a:r>
              <a:r>
                <a:rPr kumimoji="0" lang="tr-TR" altLang="tr-TR" sz="18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800" b="1"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Type</a:t>
              </a:r>
              <a:endParaRPr lang="tr-TR" sz="1800" kern="1200" dirty="0">
                <a:solidFill>
                  <a:schemeClr val="bg1"/>
                </a:solidFill>
              </a:endParaRPr>
            </a:p>
            <a:p>
              <a:pPr marL="285750" lvl="1" indent="-285750" algn="l" defTabSz="711200" rtl="0">
                <a:lnSpc>
                  <a:spcPct val="90000"/>
                </a:lnSpc>
                <a:spcBef>
                  <a:spcPct val="0"/>
                </a:spcBef>
                <a:spcAft>
                  <a:spcPct val="15000"/>
                </a:spcAft>
                <a:buFont typeface="Arial" panose="020B0604020202020204" pitchFamily="34" charset="0"/>
                <a:buChar char="•"/>
              </a:pPr>
              <a:r>
                <a:rPr kumimoji="0" lang="tr-TR" altLang="tr-TR" sz="1600" b="1"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Mitigation</a:t>
              </a:r>
              <a:r>
                <a:rPr kumimoji="0" lang="tr-TR" altLang="tr-TR" sz="16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1"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avoidance</a:t>
              </a:r>
              <a:r>
                <a:rPr kumimoji="0" lang="tr-TR" altLang="tr-TR" sz="16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reduction</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of AFOLU-</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related</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GHG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emissions</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a:t>
              </a:r>
              <a:endParaRPr lang="tr-TR" sz="1600" kern="1200" dirty="0" smtClean="0">
                <a:solidFill>
                  <a:schemeClr val="bg1"/>
                </a:solidFill>
              </a:endParaRPr>
            </a:p>
            <a:p>
              <a:pPr marL="285750" lvl="1" indent="-285750" algn="l" defTabSz="711200" rtl="0">
                <a:lnSpc>
                  <a:spcPct val="90000"/>
                </a:lnSpc>
                <a:spcBef>
                  <a:spcPct val="0"/>
                </a:spcBef>
                <a:spcAft>
                  <a:spcPct val="15000"/>
                </a:spcAft>
                <a:buFont typeface="Arial" panose="020B0604020202020204" pitchFamily="34" charset="0"/>
                <a:buChar char="•"/>
              </a:pPr>
              <a:r>
                <a:rPr kumimoji="0" lang="tr-TR" altLang="tr-TR" sz="1600" b="1"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Mitigation</a:t>
              </a:r>
              <a:r>
                <a:rPr kumimoji="0" lang="tr-TR" altLang="tr-TR" sz="16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1"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nature-based</a:t>
              </a:r>
              <a:r>
                <a:rPr kumimoji="0" lang="tr-TR" altLang="tr-TR" sz="16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1"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sequestration</a:t>
              </a:r>
              <a:r>
                <a:rPr kumimoji="0" lang="tr-TR" altLang="tr-TR" sz="16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strengthening</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forests</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and</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soils</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s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carbon</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sinks</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a:t>
              </a:r>
            </a:p>
            <a:p>
              <a:pPr marL="285750" lvl="1" indent="-285750" algn="l" defTabSz="711200" rtl="0">
                <a:lnSpc>
                  <a:spcPct val="90000"/>
                </a:lnSpc>
                <a:spcBef>
                  <a:spcPct val="0"/>
                </a:spcBef>
                <a:spcAft>
                  <a:spcPct val="15000"/>
                </a:spcAft>
                <a:buFont typeface="Arial" panose="020B0604020202020204" pitchFamily="34" charset="0"/>
                <a:buChar char="•"/>
              </a:pPr>
              <a:r>
                <a:rPr kumimoji="0" lang="tr-TR" altLang="tr-TR" sz="16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Adaptation </a:t>
              </a:r>
              <a:r>
                <a:rPr kumimoji="0" lang="tr-TR" altLang="tr-TR" sz="16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amp; </a:t>
              </a:r>
              <a:r>
                <a:rPr kumimoji="0" lang="tr-TR" altLang="tr-TR" sz="1600" b="1"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Resilience</a:t>
              </a:r>
              <a:r>
                <a:rPr kumimoji="0" lang="tr-TR" altLang="tr-TR" sz="16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1"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co-benefits</a:t>
              </a:r>
              <a:r>
                <a:rPr kumimoji="0" lang="tr-TR" altLang="tr-TR" sz="1600" b="1"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ecosystem</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protection</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and</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policy</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 </a:t>
              </a:r>
              <a:r>
                <a:rPr kumimoji="0" lang="tr-TR" altLang="tr-TR" sz="1600" b="0" i="0" u="none" strike="noStrike" kern="1200" cap="none" normalizeH="0" baseline="0" dirty="0" err="1" smtClean="0">
                  <a:ln>
                    <a:noFill/>
                  </a:ln>
                  <a:solidFill>
                    <a:schemeClr val="bg1"/>
                  </a:solidFill>
                  <a:effectLst/>
                  <a:latin typeface="Calibri" panose="020F0502020204030204" pitchFamily="34" charset="0"/>
                  <a:cs typeface="Calibri" panose="020F0502020204030204" pitchFamily="34" charset="0"/>
                </a:rPr>
                <a:t>coherence</a:t>
              </a:r>
              <a:r>
                <a:rPr kumimoji="0" lang="tr-TR" altLang="tr-TR" sz="1600" b="0" i="0" u="none" strike="noStrike" kern="1200" cap="none" normalizeH="0" baseline="0" dirty="0" smtClean="0">
                  <a:ln>
                    <a:noFill/>
                  </a:ln>
                  <a:solidFill>
                    <a:schemeClr val="bg1"/>
                  </a:solidFill>
                  <a:effectLst/>
                  <a:latin typeface="Calibri" panose="020F0502020204030204" pitchFamily="34" charset="0"/>
                  <a:cs typeface="Calibri" panose="020F0502020204030204" pitchFamily="34" charset="0"/>
                </a:rPr>
                <a:t>.</a:t>
              </a:r>
            </a:p>
          </p:txBody>
        </p:sp>
      </p:grpSp>
      <p:sp>
        <p:nvSpPr>
          <p:cNvPr id="12" name="Yuvarlatılmış Dikdörtgen 11"/>
          <p:cNvSpPr/>
          <p:nvPr/>
        </p:nvSpPr>
        <p:spPr>
          <a:xfrm>
            <a:off x="1211920" y="1174145"/>
            <a:ext cx="2021365" cy="1354666"/>
          </a:xfrm>
          <a:prstGeom prst="roundRect">
            <a:avLst>
              <a:gd name="adj" fmla="val 10000"/>
            </a:avLst>
          </a:prstGeom>
          <a:blipFill>
            <a:blip r:embed="rId2">
              <a:extLst>
                <a:ext uri="{28A0092B-C50C-407E-A947-70E740481C1C}">
                  <a14:useLocalDpi xmlns:a14="http://schemas.microsoft.com/office/drawing/2010/main" val="0"/>
                </a:ext>
              </a:extLst>
            </a:blip>
            <a:srcRect/>
            <a:stretch>
              <a:fillRect t="-3000" b="-3000"/>
            </a:stretch>
          </a:blipFill>
          <a:ln>
            <a:noFill/>
          </a:ln>
        </p:spPr>
        <p:style>
          <a:lnRef idx="2">
            <a:scrgbClr r="0" g="0" b="0"/>
          </a:lnRef>
          <a:fillRef idx="1">
            <a:scrgbClr r="0" g="0" b="0"/>
          </a:fillRef>
          <a:effectRef idx="0">
            <a:schemeClr val="accent4">
              <a:tint val="50000"/>
              <a:hueOff val="0"/>
              <a:satOff val="0"/>
              <a:lumOff val="0"/>
              <a:alphaOff val="0"/>
            </a:schemeClr>
          </a:effectRef>
          <a:fontRef idx="minor">
            <a:schemeClr val="lt1">
              <a:hueOff val="0"/>
              <a:satOff val="0"/>
              <a:lumOff val="0"/>
              <a:alphaOff val="0"/>
            </a:schemeClr>
          </a:fontRef>
        </p:style>
      </p:sp>
      <p:grpSp>
        <p:nvGrpSpPr>
          <p:cNvPr id="13" name="Grup 12"/>
          <p:cNvGrpSpPr/>
          <p:nvPr/>
        </p:nvGrpSpPr>
        <p:grpSpPr>
          <a:xfrm>
            <a:off x="1042586" y="2911357"/>
            <a:ext cx="10176019" cy="1627406"/>
            <a:chOff x="0" y="1882330"/>
            <a:chExt cx="10106826" cy="1719681"/>
          </a:xfrm>
        </p:grpSpPr>
        <p:sp>
          <p:nvSpPr>
            <p:cNvPr id="19" name="Yuvarlatılmış Dikdörtgen 18"/>
            <p:cNvSpPr/>
            <p:nvPr/>
          </p:nvSpPr>
          <p:spPr>
            <a:xfrm>
              <a:off x="0" y="1882330"/>
              <a:ext cx="10106826" cy="1693333"/>
            </a:xfrm>
            <a:prstGeom prst="roundRect">
              <a:avLst>
                <a:gd name="adj" fmla="val 10000"/>
              </a:avLst>
            </a:prstGeom>
          </p:spPr>
          <p:style>
            <a:lnRef idx="2">
              <a:schemeClr val="lt1">
                <a:hueOff val="0"/>
                <a:satOff val="0"/>
                <a:lumOff val="0"/>
                <a:alphaOff val="0"/>
              </a:schemeClr>
            </a:lnRef>
            <a:fillRef idx="1">
              <a:schemeClr val="accent4">
                <a:hueOff val="1878257"/>
                <a:satOff val="-22506"/>
                <a:lumOff val="-980"/>
                <a:alphaOff val="0"/>
              </a:schemeClr>
            </a:fillRef>
            <a:effectRef idx="0">
              <a:schemeClr val="accent4">
                <a:hueOff val="1878257"/>
                <a:satOff val="-22506"/>
                <a:lumOff val="-980"/>
                <a:alphaOff val="0"/>
              </a:schemeClr>
            </a:effectRef>
            <a:fontRef idx="minor">
              <a:schemeClr val="lt1"/>
            </a:fontRef>
          </p:style>
        </p:sp>
        <p:sp>
          <p:nvSpPr>
            <p:cNvPr id="20" name="Yuvarlatılmış Dikdörtgen 7"/>
            <p:cNvSpPr txBox="1"/>
            <p:nvPr/>
          </p:nvSpPr>
          <p:spPr>
            <a:xfrm>
              <a:off x="2190698" y="1908679"/>
              <a:ext cx="7916127" cy="16933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lvl="0" eaLnBrk="0" fontAlgn="base" hangingPunct="0">
                <a:spcBef>
                  <a:spcPct val="0"/>
                </a:spcBef>
                <a:spcAft>
                  <a:spcPct val="0"/>
                </a:spcAft>
              </a:pPr>
              <a:r>
                <a:rPr lang="tr-TR" altLang="tr-TR" sz="1800" b="1" kern="1200" dirty="0" err="1" smtClean="0">
                  <a:latin typeface="Calibri" panose="020F0502020204030204" pitchFamily="34" charset="0"/>
                  <a:cs typeface="Calibri" panose="020F0502020204030204" pitchFamily="34" charset="0"/>
                </a:rPr>
                <a:t>Impact</a:t>
              </a:r>
              <a:r>
                <a:rPr lang="tr-TR" altLang="tr-TR" sz="1800" b="1" kern="1200" dirty="0" smtClean="0">
                  <a:latin typeface="Calibri" panose="020F0502020204030204" pitchFamily="34" charset="0"/>
                  <a:cs typeface="Calibri" panose="020F0502020204030204" pitchFamily="34" charset="0"/>
                </a:rPr>
                <a:t> </a:t>
              </a:r>
              <a:r>
                <a:rPr lang="tr-TR" altLang="tr-TR" sz="1800" b="1" kern="1200" dirty="0" err="1" smtClean="0">
                  <a:latin typeface="Calibri" panose="020F0502020204030204" pitchFamily="34" charset="0"/>
                  <a:cs typeface="Calibri" panose="020F0502020204030204" pitchFamily="34" charset="0"/>
                </a:rPr>
                <a:t>Metric</a:t>
              </a:r>
              <a:endParaRPr lang="tr-TR" altLang="tr-TR" sz="1800" b="1" kern="1200" dirty="0" smtClean="0">
                <a:latin typeface="Calibri" panose="020F0502020204030204" pitchFamily="34" charset="0"/>
                <a:cs typeface="Calibri" panose="020F0502020204030204" pitchFamily="34" charset="0"/>
              </a:endParaRPr>
            </a:p>
            <a:p>
              <a:pPr marL="285750" lvl="1" indent="-285750" defTabSz="711200" fontAlgn="base">
                <a:lnSpc>
                  <a:spcPct val="90000"/>
                </a:lnSpc>
                <a:spcBef>
                  <a:spcPct val="0"/>
                </a:spcBef>
                <a:spcAft>
                  <a:spcPct val="15000"/>
                </a:spcAft>
                <a:buFont typeface="Arial" panose="020B0604020202020204" pitchFamily="34" charset="0"/>
                <a:buChar char="•"/>
              </a:pPr>
              <a:r>
                <a:rPr lang="tr-TR" altLang="tr-TR" sz="1400" dirty="0">
                  <a:solidFill>
                    <a:schemeClr val="bg1"/>
                  </a:solidFill>
                  <a:latin typeface="Calibri" panose="020F0502020204030204" pitchFamily="34" charset="0"/>
                  <a:cs typeface="Calibri" panose="020F0502020204030204" pitchFamily="34" charset="0"/>
                </a:rPr>
                <a:t>~</a:t>
              </a:r>
              <a:r>
                <a:rPr lang="tr-TR" altLang="tr-TR" sz="1400" dirty="0">
                  <a:solidFill>
                    <a:schemeClr val="bg1"/>
                  </a:solidFill>
                  <a:latin typeface="Calibri" panose="020F0502020204030204" pitchFamily="34" charset="0"/>
                  <a:cs typeface="Calibri" panose="020F0502020204030204" pitchFamily="34" charset="0"/>
                </a:rPr>
                <a:t>0.74 </a:t>
              </a:r>
              <a:r>
                <a:rPr lang="tr-TR" altLang="tr-TR" sz="1400" dirty="0" err="1">
                  <a:solidFill>
                    <a:schemeClr val="bg1"/>
                  </a:solidFill>
                  <a:latin typeface="Calibri" panose="020F0502020204030204" pitchFamily="34" charset="0"/>
                  <a:cs typeface="Calibri" panose="020F0502020204030204" pitchFamily="34" charset="0"/>
                </a:rPr>
                <a:t>MtCO₂e</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avoided</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per</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year</a:t>
              </a:r>
              <a:endParaRPr lang="tr-TR" altLang="tr-TR" sz="1400" dirty="0">
                <a:solidFill>
                  <a:schemeClr val="bg1"/>
                </a:solidFill>
                <a:latin typeface="Calibri" panose="020F0502020204030204" pitchFamily="34" charset="0"/>
                <a:cs typeface="Calibri" panose="020F0502020204030204" pitchFamily="34" charset="0"/>
              </a:endParaRPr>
            </a:p>
            <a:p>
              <a:pPr marL="285750" lvl="1" indent="-285750" defTabSz="711200" fontAlgn="base">
                <a:lnSpc>
                  <a:spcPct val="90000"/>
                </a:lnSpc>
                <a:spcBef>
                  <a:spcPct val="0"/>
                </a:spcBef>
                <a:spcAft>
                  <a:spcPct val="15000"/>
                </a:spcAft>
                <a:buFont typeface="Arial" panose="020B0604020202020204" pitchFamily="34" charset="0"/>
                <a:buChar char="•"/>
              </a:pPr>
              <a:r>
                <a:rPr lang="tr-TR" altLang="tr-TR" sz="1400" dirty="0">
                  <a:solidFill>
                    <a:schemeClr val="bg1"/>
                  </a:solidFill>
                  <a:latin typeface="Calibri" panose="020F0502020204030204" pitchFamily="34" charset="0"/>
                  <a:cs typeface="Calibri" panose="020F0502020204030204" pitchFamily="34" charset="0"/>
                </a:rPr>
                <a:t>~7.4 </a:t>
              </a:r>
              <a:r>
                <a:rPr lang="tr-TR" altLang="tr-TR" sz="1400" dirty="0" err="1">
                  <a:solidFill>
                    <a:schemeClr val="bg1"/>
                  </a:solidFill>
                  <a:latin typeface="Calibri" panose="020F0502020204030204" pitchFamily="34" charset="0"/>
                  <a:cs typeface="Calibri" panose="020F0502020204030204" pitchFamily="34" charset="0"/>
                </a:rPr>
                <a:t>MtCO₂e</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cumulative</a:t>
              </a:r>
              <a:r>
                <a:rPr lang="tr-TR" altLang="tr-TR" sz="1400" dirty="0">
                  <a:solidFill>
                    <a:schemeClr val="bg1"/>
                  </a:solidFill>
                  <a:latin typeface="Calibri" panose="020F0502020204030204" pitchFamily="34" charset="0"/>
                  <a:cs typeface="Calibri" panose="020F0502020204030204" pitchFamily="34" charset="0"/>
                </a:rPr>
                <a:t> (2025–2035)</a:t>
              </a:r>
            </a:p>
            <a:p>
              <a:pPr marL="285750" lvl="1" indent="-285750" defTabSz="711200" fontAlgn="base">
                <a:lnSpc>
                  <a:spcPct val="90000"/>
                </a:lnSpc>
                <a:spcBef>
                  <a:spcPct val="0"/>
                </a:spcBef>
                <a:spcAft>
                  <a:spcPct val="15000"/>
                </a:spcAft>
                <a:buFont typeface="Arial" panose="020B0604020202020204" pitchFamily="34" charset="0"/>
                <a:buChar char="•"/>
              </a:pPr>
              <a:r>
                <a:rPr lang="tr-TR" altLang="tr-TR" sz="1400" dirty="0" err="1">
                  <a:solidFill>
                    <a:schemeClr val="bg1"/>
                  </a:solidFill>
                  <a:latin typeface="Calibri" panose="020F0502020204030204" pitchFamily="34" charset="0"/>
                  <a:cs typeface="Calibri" panose="020F0502020204030204" pitchFamily="34" charset="0"/>
                </a:rPr>
                <a:t>Based</a:t>
              </a:r>
              <a:r>
                <a:rPr lang="tr-TR" altLang="tr-TR" sz="1400" dirty="0">
                  <a:solidFill>
                    <a:schemeClr val="bg1"/>
                  </a:solidFill>
                  <a:latin typeface="Calibri" panose="020F0502020204030204" pitchFamily="34" charset="0"/>
                  <a:cs typeface="Calibri" panose="020F0502020204030204" pitchFamily="34" charset="0"/>
                </a:rPr>
                <a:t> on </a:t>
              </a:r>
              <a:r>
                <a:rPr lang="tr-TR" altLang="tr-TR" sz="1400" dirty="0" err="1">
                  <a:solidFill>
                    <a:schemeClr val="bg1"/>
                  </a:solidFill>
                  <a:latin typeface="Calibri" panose="020F0502020204030204" pitchFamily="34" charset="0"/>
                  <a:cs typeface="Calibri" panose="020F0502020204030204" pitchFamily="34" charset="0"/>
                </a:rPr>
                <a:t>Türkiye’s</a:t>
              </a:r>
              <a:r>
                <a:rPr lang="tr-TR" altLang="tr-TR" sz="1400" dirty="0">
                  <a:solidFill>
                    <a:schemeClr val="bg1"/>
                  </a:solidFill>
                  <a:latin typeface="Calibri" panose="020F0502020204030204" pitchFamily="34" charset="0"/>
                  <a:cs typeface="Calibri" panose="020F0502020204030204" pitchFamily="34" charset="0"/>
                </a:rPr>
                <a:t> GHG Inventory (TURKSTAT, 2023) → AFOLU </a:t>
              </a:r>
              <a:r>
                <a:rPr lang="tr-TR" altLang="tr-TR" sz="1400" dirty="0" err="1">
                  <a:solidFill>
                    <a:schemeClr val="bg1"/>
                  </a:solidFill>
                  <a:latin typeface="Calibri" panose="020F0502020204030204" pitchFamily="34" charset="0"/>
                  <a:cs typeface="Calibri" panose="020F0502020204030204" pitchFamily="34" charset="0"/>
                </a:rPr>
                <a:t>avg</a:t>
              </a:r>
              <a:r>
                <a:rPr lang="tr-TR" altLang="tr-TR" sz="1400" dirty="0">
                  <a:solidFill>
                    <a:schemeClr val="bg1"/>
                  </a:solidFill>
                  <a:latin typeface="Calibri" panose="020F0502020204030204" pitchFamily="34" charset="0"/>
                  <a:cs typeface="Calibri" panose="020F0502020204030204" pitchFamily="34" charset="0"/>
                </a:rPr>
                <a:t>. ~56 </a:t>
              </a:r>
              <a:r>
                <a:rPr lang="tr-TR" altLang="tr-TR" sz="1400" dirty="0" err="1">
                  <a:solidFill>
                    <a:schemeClr val="bg1"/>
                  </a:solidFill>
                  <a:latin typeface="Calibri" panose="020F0502020204030204" pitchFamily="34" charset="0"/>
                  <a:cs typeface="Calibri" panose="020F0502020204030204" pitchFamily="34" charset="0"/>
                </a:rPr>
                <a:t>MtCO₂e</a:t>
              </a:r>
              <a:r>
                <a:rPr lang="tr-TR" altLang="tr-TR" sz="1400" dirty="0">
                  <a:solidFill>
                    <a:schemeClr val="bg1"/>
                  </a:solidFill>
                  <a:latin typeface="Calibri" panose="020F0502020204030204" pitchFamily="34" charset="0"/>
                  <a:cs typeface="Calibri" panose="020F0502020204030204" pitchFamily="34" charset="0"/>
                </a:rPr>
                <a:t>/</a:t>
              </a:r>
              <a:r>
                <a:rPr lang="tr-TR" altLang="tr-TR" sz="1400" dirty="0" err="1">
                  <a:solidFill>
                    <a:schemeClr val="bg1"/>
                  </a:solidFill>
                  <a:latin typeface="Calibri" panose="020F0502020204030204" pitchFamily="34" charset="0"/>
                  <a:cs typeface="Calibri" panose="020F0502020204030204" pitchFamily="34" charset="0"/>
                </a:rPr>
                <a:t>yr</a:t>
              </a:r>
              <a:r>
                <a:rPr lang="tr-TR" altLang="tr-TR" sz="1400" dirty="0">
                  <a:solidFill>
                    <a:schemeClr val="bg1"/>
                  </a:solidFill>
                  <a:latin typeface="Calibri" panose="020F0502020204030204" pitchFamily="34" charset="0"/>
                  <a:cs typeface="Calibri" panose="020F0502020204030204" pitchFamily="34" charset="0"/>
                </a:rPr>
                <a:t> (1990–2023)</a:t>
              </a:r>
            </a:p>
            <a:p>
              <a:pPr marL="285750" lvl="1" indent="-285750" defTabSz="711200" fontAlgn="base">
                <a:lnSpc>
                  <a:spcPct val="90000"/>
                </a:lnSpc>
                <a:spcBef>
                  <a:spcPct val="0"/>
                </a:spcBef>
                <a:spcAft>
                  <a:spcPct val="15000"/>
                </a:spcAft>
                <a:buFont typeface="Arial" panose="020B0604020202020204" pitchFamily="34" charset="0"/>
                <a:buChar char="•"/>
              </a:pPr>
              <a:r>
                <a:rPr lang="tr-TR" altLang="tr-TR" sz="1400" dirty="0" err="1">
                  <a:solidFill>
                    <a:schemeClr val="bg1"/>
                  </a:solidFill>
                  <a:latin typeface="Calibri" panose="020F0502020204030204" pitchFamily="34" charset="0"/>
                  <a:cs typeface="Calibri" panose="020F0502020204030204" pitchFamily="34" charset="0"/>
                </a:rPr>
                <a:t>Assumes</a:t>
              </a:r>
              <a:r>
                <a:rPr lang="tr-TR" altLang="tr-TR" sz="1400" dirty="0">
                  <a:solidFill>
                    <a:schemeClr val="bg1"/>
                  </a:solidFill>
                  <a:latin typeface="Calibri" panose="020F0502020204030204" pitchFamily="34" charset="0"/>
                  <a:cs typeface="Calibri" panose="020F0502020204030204" pitchFamily="34" charset="0"/>
                </a:rPr>
                <a:t> 1–2% </a:t>
              </a:r>
              <a:r>
                <a:rPr lang="tr-TR" altLang="tr-TR" sz="1400" dirty="0" err="1">
                  <a:solidFill>
                    <a:schemeClr val="bg1"/>
                  </a:solidFill>
                  <a:latin typeface="Calibri" panose="020F0502020204030204" pitchFamily="34" charset="0"/>
                  <a:cs typeface="Calibri" panose="020F0502020204030204" pitchFamily="34" charset="0"/>
                </a:rPr>
                <a:t>reduction</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enabled</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by</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stronger</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capacity</a:t>
              </a:r>
              <a:r>
                <a:rPr lang="tr-TR" altLang="tr-TR" sz="1400" dirty="0">
                  <a:solidFill>
                    <a:schemeClr val="bg1"/>
                  </a:solidFill>
                  <a:latin typeface="Calibri" panose="020F0502020204030204" pitchFamily="34" charset="0"/>
                  <a:cs typeface="Calibri" panose="020F0502020204030204" pitchFamily="34" charset="0"/>
                </a:rPr>
                <a:t> &amp; </a:t>
              </a:r>
              <a:r>
                <a:rPr lang="tr-TR" altLang="tr-TR" sz="1400" dirty="0" err="1">
                  <a:solidFill>
                    <a:schemeClr val="bg1"/>
                  </a:solidFill>
                  <a:latin typeface="Calibri" panose="020F0502020204030204" pitchFamily="34" charset="0"/>
                  <a:cs typeface="Calibri" panose="020F0502020204030204" pitchFamily="34" charset="0"/>
                </a:rPr>
                <a:t>coordination</a:t>
              </a:r>
              <a:endParaRPr lang="tr-TR" altLang="tr-TR" sz="1400" dirty="0">
                <a:solidFill>
                  <a:schemeClr val="bg1"/>
                </a:solidFill>
                <a:latin typeface="Calibri" panose="020F0502020204030204" pitchFamily="34" charset="0"/>
                <a:cs typeface="Calibri" panose="020F0502020204030204" pitchFamily="34" charset="0"/>
              </a:endParaRPr>
            </a:p>
            <a:p>
              <a:pPr marL="285750" lvl="1" indent="-285750" defTabSz="711200" fontAlgn="base">
                <a:lnSpc>
                  <a:spcPct val="90000"/>
                </a:lnSpc>
                <a:spcBef>
                  <a:spcPct val="0"/>
                </a:spcBef>
                <a:spcAft>
                  <a:spcPct val="15000"/>
                </a:spcAft>
                <a:buFont typeface="Arial" panose="020B0604020202020204" pitchFamily="34" charset="0"/>
                <a:buChar char="•"/>
              </a:pPr>
              <a:r>
                <a:rPr lang="tr-TR" altLang="tr-TR" sz="1400" dirty="0" err="1">
                  <a:solidFill>
                    <a:schemeClr val="bg1"/>
                  </a:solidFill>
                  <a:latin typeface="Calibri" panose="020F0502020204030204" pitchFamily="34" charset="0"/>
                  <a:cs typeface="Calibri" panose="020F0502020204030204" pitchFamily="34" charset="0"/>
                </a:rPr>
                <a:t>Impact</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consistent</a:t>
              </a:r>
              <a:r>
                <a:rPr lang="tr-TR" altLang="tr-TR" sz="1400" dirty="0">
                  <a:solidFill>
                    <a:schemeClr val="bg1"/>
                  </a:solidFill>
                  <a:latin typeface="Calibri" panose="020F0502020204030204" pitchFamily="34" charset="0"/>
                  <a:cs typeface="Calibri" panose="020F0502020204030204" pitchFamily="34" charset="0"/>
                </a:rPr>
                <a:t> </a:t>
              </a:r>
              <a:r>
                <a:rPr lang="tr-TR" altLang="tr-TR" sz="1400" dirty="0" err="1">
                  <a:solidFill>
                    <a:schemeClr val="bg1"/>
                  </a:solidFill>
                  <a:latin typeface="Calibri" panose="020F0502020204030204" pitchFamily="34" charset="0"/>
                  <a:cs typeface="Calibri" panose="020F0502020204030204" pitchFamily="34" charset="0"/>
                </a:rPr>
                <a:t>with</a:t>
              </a:r>
              <a:r>
                <a:rPr lang="tr-TR" altLang="tr-TR" sz="1400" dirty="0">
                  <a:solidFill>
                    <a:schemeClr val="bg1"/>
                  </a:solidFill>
                  <a:latin typeface="Calibri" panose="020F0502020204030204" pitchFamily="34" charset="0"/>
                  <a:cs typeface="Calibri" panose="020F0502020204030204" pitchFamily="34" charset="0"/>
                </a:rPr>
                <a:t> IPCC AR6 WGIII global AFOLU </a:t>
              </a:r>
              <a:r>
                <a:rPr lang="tr-TR" altLang="tr-TR" sz="1400" dirty="0" err="1">
                  <a:solidFill>
                    <a:schemeClr val="bg1"/>
                  </a:solidFill>
                  <a:latin typeface="Calibri" panose="020F0502020204030204" pitchFamily="34" charset="0"/>
                  <a:cs typeface="Calibri" panose="020F0502020204030204" pitchFamily="34" charset="0"/>
                </a:rPr>
                <a:t>potential</a:t>
              </a:r>
              <a:r>
                <a:rPr lang="tr-TR" altLang="tr-TR" sz="1400" dirty="0">
                  <a:solidFill>
                    <a:schemeClr val="bg1"/>
                  </a:solidFill>
                  <a:latin typeface="Calibri" panose="020F0502020204030204" pitchFamily="34" charset="0"/>
                  <a:cs typeface="Calibri" panose="020F0502020204030204" pitchFamily="34" charset="0"/>
                </a:rPr>
                <a:t> (8–14 </a:t>
              </a:r>
              <a:r>
                <a:rPr lang="tr-TR" altLang="tr-TR" sz="1400" dirty="0" err="1">
                  <a:solidFill>
                    <a:schemeClr val="bg1"/>
                  </a:solidFill>
                  <a:latin typeface="Calibri" panose="020F0502020204030204" pitchFamily="34" charset="0"/>
                  <a:cs typeface="Calibri" panose="020F0502020204030204" pitchFamily="34" charset="0"/>
                </a:rPr>
                <a:t>GtCO₂e</a:t>
              </a:r>
              <a:r>
                <a:rPr lang="tr-TR" altLang="tr-TR" sz="1400" dirty="0">
                  <a:solidFill>
                    <a:schemeClr val="bg1"/>
                  </a:solidFill>
                  <a:latin typeface="Calibri" panose="020F0502020204030204" pitchFamily="34" charset="0"/>
                  <a:cs typeface="Calibri" panose="020F0502020204030204" pitchFamily="34" charset="0"/>
                </a:rPr>
                <a:t>/</a:t>
              </a:r>
              <a:r>
                <a:rPr lang="tr-TR" altLang="tr-TR" sz="1400" dirty="0" err="1">
                  <a:solidFill>
                    <a:schemeClr val="bg1"/>
                  </a:solidFill>
                  <a:latin typeface="Calibri" panose="020F0502020204030204" pitchFamily="34" charset="0"/>
                  <a:cs typeface="Calibri" panose="020F0502020204030204" pitchFamily="34" charset="0"/>
                </a:rPr>
                <a:t>yr</a:t>
              </a:r>
              <a:r>
                <a:rPr lang="tr-TR" altLang="tr-TR" sz="1400" dirty="0">
                  <a:solidFill>
                    <a:schemeClr val="bg1"/>
                  </a:solidFill>
                  <a:latin typeface="Calibri" panose="020F0502020204030204" pitchFamily="34" charset="0"/>
                  <a:cs typeface="Calibri" panose="020F0502020204030204" pitchFamily="34" charset="0"/>
                </a:rPr>
                <a:t> at &lt;100 USD/</a:t>
              </a:r>
              <a:r>
                <a:rPr lang="tr-TR" altLang="tr-TR" sz="1400" dirty="0" err="1">
                  <a:solidFill>
                    <a:schemeClr val="bg1"/>
                  </a:solidFill>
                  <a:latin typeface="Calibri" panose="020F0502020204030204" pitchFamily="34" charset="0"/>
                  <a:cs typeface="Calibri" panose="020F0502020204030204" pitchFamily="34" charset="0"/>
                </a:rPr>
                <a:t>tCO₂e</a:t>
              </a:r>
              <a:r>
                <a:rPr lang="tr-TR" altLang="tr-TR" sz="1400" dirty="0">
                  <a:solidFill>
                    <a:schemeClr val="bg1"/>
                  </a:solidFill>
                  <a:latin typeface="Calibri" panose="020F0502020204030204" pitchFamily="34" charset="0"/>
                  <a:cs typeface="Calibri" panose="020F0502020204030204" pitchFamily="34" charset="0"/>
                </a:rPr>
                <a:t>)</a:t>
              </a:r>
            </a:p>
            <a:p>
              <a:pPr marL="285750" lvl="0" indent="-285750" algn="l" defTabSz="800100">
                <a:lnSpc>
                  <a:spcPct val="90000"/>
                </a:lnSpc>
                <a:spcBef>
                  <a:spcPct val="0"/>
                </a:spcBef>
                <a:spcAft>
                  <a:spcPct val="35000"/>
                </a:spcAft>
                <a:buFont typeface="Arial" panose="020B0604020202020204" pitchFamily="34" charset="0"/>
                <a:buChar char="•"/>
              </a:pPr>
              <a:endParaRPr lang="tr-TR" sz="1800" kern="1200" dirty="0"/>
            </a:p>
          </p:txBody>
        </p:sp>
      </p:grpSp>
      <p:sp>
        <p:nvSpPr>
          <p:cNvPr id="14" name="Yuvarlatılmış Dikdörtgen 13"/>
          <p:cNvSpPr/>
          <p:nvPr/>
        </p:nvSpPr>
        <p:spPr>
          <a:xfrm>
            <a:off x="1042585" y="2921194"/>
            <a:ext cx="2044744" cy="1587073"/>
          </a:xfrm>
          <a:prstGeom prst="roundRect">
            <a:avLst>
              <a:gd name="adj" fmla="val 10000"/>
            </a:avLst>
          </a:prstGeom>
          <a:blipFill>
            <a:blip r:embed="rId3">
              <a:extLst>
                <a:ext uri="{28A0092B-C50C-407E-A947-70E740481C1C}">
                  <a14:useLocalDpi xmlns:a14="http://schemas.microsoft.com/office/drawing/2010/main" val="0"/>
                </a:ext>
              </a:extLst>
            </a:blip>
            <a:srcRect/>
            <a:stretch>
              <a:fillRect t="-25000" b="-25000"/>
            </a:stretch>
          </a:blipFill>
          <a:ln>
            <a:noFill/>
          </a:ln>
        </p:spPr>
        <p:style>
          <a:lnRef idx="2">
            <a:scrgbClr r="0" g="0" b="0"/>
          </a:lnRef>
          <a:fillRef idx="1">
            <a:scrgbClr r="0" g="0" b="0"/>
          </a:fillRef>
          <a:effectRef idx="0">
            <a:schemeClr val="accent4">
              <a:tint val="50000"/>
              <a:hueOff val="2048034"/>
              <a:satOff val="-13320"/>
              <a:lumOff val="-909"/>
              <a:alphaOff val="0"/>
            </a:schemeClr>
          </a:effectRef>
          <a:fontRef idx="minor">
            <a:schemeClr val="lt1">
              <a:hueOff val="0"/>
              <a:satOff val="0"/>
              <a:lumOff val="0"/>
              <a:alphaOff val="0"/>
            </a:schemeClr>
          </a:fontRef>
        </p:style>
      </p:sp>
      <p:grpSp>
        <p:nvGrpSpPr>
          <p:cNvPr id="15" name="Grup 14"/>
          <p:cNvGrpSpPr/>
          <p:nvPr/>
        </p:nvGrpSpPr>
        <p:grpSpPr>
          <a:xfrm>
            <a:off x="1042587" y="4584851"/>
            <a:ext cx="10106826" cy="2047010"/>
            <a:chOff x="0" y="3725333"/>
            <a:chExt cx="10106826" cy="1693333"/>
          </a:xfrm>
        </p:grpSpPr>
        <p:sp>
          <p:nvSpPr>
            <p:cNvPr id="17" name="Yuvarlatılmış Dikdörtgen 16"/>
            <p:cNvSpPr/>
            <p:nvPr/>
          </p:nvSpPr>
          <p:spPr>
            <a:xfrm>
              <a:off x="0" y="3725333"/>
              <a:ext cx="10106826" cy="1693333"/>
            </a:xfrm>
            <a:prstGeom prst="roundRect">
              <a:avLst>
                <a:gd name="adj" fmla="val 10000"/>
              </a:avLst>
            </a:prstGeom>
            <a:solidFill>
              <a:schemeClr val="accent5">
                <a:lumMod val="60000"/>
                <a:lumOff val="40000"/>
              </a:schemeClr>
            </a:solidFill>
            <a:ln>
              <a:noFill/>
            </a:ln>
          </p:spPr>
          <p:style>
            <a:lnRef idx="2">
              <a:scrgbClr r="0" g="0" b="0"/>
            </a:lnRef>
            <a:fillRef idx="1">
              <a:scrgbClr r="0" g="0" b="0"/>
            </a:fillRef>
            <a:effectRef idx="0">
              <a:schemeClr val="accent4">
                <a:hueOff val="3756515"/>
                <a:satOff val="-45013"/>
                <a:lumOff val="-1960"/>
                <a:alphaOff val="0"/>
              </a:schemeClr>
            </a:effectRef>
            <a:fontRef idx="minor">
              <a:schemeClr val="lt1"/>
            </a:fontRef>
          </p:style>
        </p:sp>
        <p:sp>
          <p:nvSpPr>
            <p:cNvPr id="18" name="Yuvarlatılmış Dikdörtgen 10"/>
            <p:cNvSpPr txBox="1"/>
            <p:nvPr/>
          </p:nvSpPr>
          <p:spPr>
            <a:xfrm>
              <a:off x="2190698" y="3725333"/>
              <a:ext cx="7916127" cy="16933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tr-TR" sz="1800" b="1" kern="1200" noProof="0" dirty="0" smtClean="0">
                  <a:latin typeface="Calibri" panose="020F0502020204030204" pitchFamily="34" charset="0"/>
                  <a:cs typeface="Calibri" panose="020F0502020204030204" pitchFamily="34" charset="0"/>
                </a:rPr>
                <a:t>Description of Climate Impact</a:t>
              </a:r>
              <a:endParaRPr lang="tr-TR" altLang="tr-TR" sz="1800" b="1" kern="1200" noProof="0" dirty="0" smtClean="0">
                <a:latin typeface="Calibri" panose="020F0502020204030204" pitchFamily="34" charset="0"/>
                <a:cs typeface="Calibri" panose="020F0502020204030204" pitchFamily="34" charset="0"/>
              </a:endParaRPr>
            </a:p>
            <a:p>
              <a:pPr marL="171450" lvl="0" indent="-171450" defTabSz="800100">
                <a:lnSpc>
                  <a:spcPct val="90000"/>
                </a:lnSpc>
                <a:spcBef>
                  <a:spcPct val="0"/>
                </a:spcBef>
                <a:spcAft>
                  <a:spcPct val="35000"/>
                </a:spcAft>
                <a:buFont typeface="Arial" panose="020B0604020202020204" pitchFamily="34" charset="0"/>
                <a:buChar char="•"/>
              </a:pPr>
              <a:r>
                <a:rPr lang="en-US" sz="1300" dirty="0">
                  <a:latin typeface="Calibri" panose="020F0502020204030204" pitchFamily="34" charset="0"/>
                  <a:cs typeface="Calibri" panose="020F0502020204030204" pitchFamily="34" charset="0"/>
                </a:rPr>
                <a:t>The project contributes to mitigation </a:t>
              </a:r>
              <a:r>
                <a:rPr lang="en-US" sz="1300" b="1" dirty="0">
                  <a:latin typeface="Calibri" panose="020F0502020204030204" pitchFamily="34" charset="0"/>
                  <a:cs typeface="Calibri" panose="020F0502020204030204" pitchFamily="34" charset="0"/>
                </a:rPr>
                <a:t>by improving institutional coordination and policy integration </a:t>
              </a:r>
              <a:r>
                <a:rPr lang="en-US" sz="1300" dirty="0">
                  <a:latin typeface="Calibri" panose="020F0502020204030204" pitchFamily="34" charset="0"/>
                  <a:cs typeface="Calibri" panose="020F0502020204030204" pitchFamily="34" charset="0"/>
                </a:rPr>
                <a:t>for AFOLU. </a:t>
              </a:r>
              <a:endParaRPr lang="tr-TR" sz="1300" dirty="0" smtClean="0">
                <a:latin typeface="Calibri" panose="020F0502020204030204" pitchFamily="34" charset="0"/>
                <a:cs typeface="Calibri" panose="020F0502020204030204" pitchFamily="34" charset="0"/>
              </a:endParaRPr>
            </a:p>
            <a:p>
              <a:pPr marL="171450" lvl="0" indent="-171450" defTabSz="800100">
                <a:lnSpc>
                  <a:spcPct val="90000"/>
                </a:lnSpc>
                <a:spcBef>
                  <a:spcPct val="0"/>
                </a:spcBef>
                <a:spcAft>
                  <a:spcPct val="35000"/>
                </a:spcAft>
                <a:buFont typeface="Arial" panose="020B0604020202020204" pitchFamily="34" charset="0"/>
                <a:buChar char="•"/>
              </a:pPr>
              <a:r>
                <a:rPr lang="en-US" sz="1300" dirty="0" smtClean="0">
                  <a:latin typeface="Calibri" panose="020F0502020204030204" pitchFamily="34" charset="0"/>
                  <a:cs typeface="Calibri" panose="020F0502020204030204" pitchFamily="34" charset="0"/>
                </a:rPr>
                <a:t>By </a:t>
              </a:r>
              <a:r>
                <a:rPr lang="en-US" sz="1300" b="1" dirty="0">
                  <a:latin typeface="Calibri" panose="020F0502020204030204" pitchFamily="34" charset="0"/>
                  <a:cs typeface="Calibri" panose="020F0502020204030204" pitchFamily="34" charset="0"/>
                </a:rPr>
                <a:t>developing national expertise and building a robust pool of professionals</a:t>
              </a:r>
              <a:r>
                <a:rPr lang="en-US" sz="1300" dirty="0">
                  <a:latin typeface="Calibri" panose="020F0502020204030204" pitchFamily="34" charset="0"/>
                  <a:cs typeface="Calibri" panose="020F0502020204030204" pitchFamily="34" charset="0"/>
                </a:rPr>
                <a:t>, it creates the capacity to design and implement future mitigation projects. </a:t>
              </a:r>
              <a:endParaRPr lang="tr-TR" sz="1300" dirty="0" smtClean="0">
                <a:latin typeface="Calibri" panose="020F0502020204030204" pitchFamily="34" charset="0"/>
                <a:cs typeface="Calibri" panose="020F0502020204030204" pitchFamily="34" charset="0"/>
              </a:endParaRPr>
            </a:p>
            <a:p>
              <a:pPr marL="171450" lvl="0" indent="-171450" defTabSz="800100">
                <a:lnSpc>
                  <a:spcPct val="90000"/>
                </a:lnSpc>
                <a:spcBef>
                  <a:spcPct val="0"/>
                </a:spcBef>
                <a:spcAft>
                  <a:spcPct val="35000"/>
                </a:spcAft>
                <a:buFont typeface="Arial" panose="020B0604020202020204" pitchFamily="34" charset="0"/>
                <a:buChar char="•"/>
              </a:pPr>
              <a:r>
                <a:rPr lang="en-US" sz="1300" dirty="0" smtClean="0">
                  <a:latin typeface="Calibri" panose="020F0502020204030204" pitchFamily="34" charset="0"/>
                  <a:cs typeface="Calibri" panose="020F0502020204030204" pitchFamily="34" charset="0"/>
                </a:rPr>
                <a:t>It </a:t>
              </a:r>
              <a:r>
                <a:rPr lang="en-US" sz="1300" dirty="0">
                  <a:latin typeface="Calibri" panose="020F0502020204030204" pitchFamily="34" charset="0"/>
                  <a:cs typeface="Calibri" panose="020F0502020204030204" pitchFamily="34" charset="0"/>
                </a:rPr>
                <a:t>also supports consistent </a:t>
              </a:r>
              <a:r>
                <a:rPr lang="en-US" sz="1300" b="1" dirty="0">
                  <a:latin typeface="Calibri" panose="020F0502020204030204" pitchFamily="34" charset="0"/>
                  <a:cs typeface="Calibri" panose="020F0502020204030204" pitchFamily="34" charset="0"/>
                </a:rPr>
                <a:t>NDC accounting, LTS, and BTR. </a:t>
              </a:r>
              <a:endParaRPr lang="tr-TR" sz="1300" b="1" dirty="0" smtClean="0">
                <a:latin typeface="Calibri" panose="020F0502020204030204" pitchFamily="34" charset="0"/>
                <a:cs typeface="Calibri" panose="020F0502020204030204" pitchFamily="34" charset="0"/>
              </a:endParaRPr>
            </a:p>
            <a:p>
              <a:pPr marL="171450" lvl="0" indent="-171450" defTabSz="800100">
                <a:lnSpc>
                  <a:spcPct val="90000"/>
                </a:lnSpc>
                <a:spcBef>
                  <a:spcPct val="0"/>
                </a:spcBef>
                <a:spcAft>
                  <a:spcPct val="35000"/>
                </a:spcAft>
                <a:buFont typeface="Arial" panose="020B0604020202020204" pitchFamily="34" charset="0"/>
                <a:buChar char="•"/>
              </a:pPr>
              <a:r>
                <a:rPr lang="en-US" sz="1300" dirty="0" smtClean="0">
                  <a:latin typeface="Calibri" panose="020F0502020204030204" pitchFamily="34" charset="0"/>
                  <a:cs typeface="Calibri" panose="020F0502020204030204" pitchFamily="34" charset="0"/>
                </a:rPr>
                <a:t>In </a:t>
              </a:r>
              <a:r>
                <a:rPr lang="en-US" sz="1300" dirty="0">
                  <a:latin typeface="Calibri" panose="020F0502020204030204" pitchFamily="34" charset="0"/>
                  <a:cs typeface="Calibri" panose="020F0502020204030204" pitchFamily="34" charset="0"/>
                </a:rPr>
                <a:t>addition to emissions reduction, the project enhances adaptation and resilience by promoting sustainable land management, protecting ecosystems, and ensuring policy coherence. </a:t>
              </a:r>
              <a:endParaRPr lang="tr-TR" sz="1300" dirty="0" smtClean="0">
                <a:latin typeface="Calibri" panose="020F0502020204030204" pitchFamily="34" charset="0"/>
                <a:cs typeface="Calibri" panose="020F0502020204030204" pitchFamily="34" charset="0"/>
              </a:endParaRPr>
            </a:p>
            <a:p>
              <a:pPr marL="171450" lvl="0" indent="-171450" defTabSz="800100">
                <a:lnSpc>
                  <a:spcPct val="90000"/>
                </a:lnSpc>
                <a:spcBef>
                  <a:spcPct val="0"/>
                </a:spcBef>
                <a:spcAft>
                  <a:spcPct val="35000"/>
                </a:spcAft>
                <a:buFont typeface="Arial" panose="020B0604020202020204" pitchFamily="34" charset="0"/>
                <a:buChar char="•"/>
              </a:pPr>
              <a:r>
                <a:rPr lang="en-US" sz="1300" dirty="0" smtClean="0">
                  <a:latin typeface="Calibri" panose="020F0502020204030204" pitchFamily="34" charset="0"/>
                  <a:cs typeface="Calibri" panose="020F0502020204030204" pitchFamily="34" charset="0"/>
                </a:rPr>
                <a:t>This </a:t>
              </a:r>
              <a:r>
                <a:rPr lang="en-US" sz="1300" dirty="0">
                  <a:latin typeface="Calibri" panose="020F0502020204030204" pitchFamily="34" charset="0"/>
                  <a:cs typeface="Calibri" panose="020F0502020204030204" pitchFamily="34" charset="0"/>
                </a:rPr>
                <a:t>dual benefit strengthens </a:t>
              </a:r>
              <a:r>
                <a:rPr lang="en-US" sz="1300" dirty="0" err="1">
                  <a:latin typeface="Calibri" panose="020F0502020204030204" pitchFamily="34" charset="0"/>
                  <a:cs typeface="Calibri" panose="020F0502020204030204" pitchFamily="34" charset="0"/>
                </a:rPr>
                <a:t>Türkiye’s</a:t>
              </a:r>
              <a:r>
                <a:rPr lang="en-US" sz="1300" dirty="0">
                  <a:latin typeface="Calibri" panose="020F0502020204030204" pitchFamily="34" charset="0"/>
                  <a:cs typeface="Calibri" panose="020F0502020204030204" pitchFamily="34" charset="0"/>
                </a:rPr>
                <a:t> capacity to achieve its 2053 net-zero target</a:t>
              </a:r>
              <a:r>
                <a:rPr lang="en-US" sz="1200" dirty="0" smtClean="0">
                  <a:latin typeface="Calibri" panose="020F0502020204030204" pitchFamily="34" charset="0"/>
                  <a:cs typeface="Calibri" panose="020F0502020204030204" pitchFamily="34" charset="0"/>
                </a:rPr>
                <a:t>.</a:t>
              </a:r>
              <a:endParaRPr lang="en-US" sz="1200" kern="1200" noProof="0" dirty="0">
                <a:latin typeface="Calibri" panose="020F0502020204030204" pitchFamily="34" charset="0"/>
                <a:cs typeface="Calibri" panose="020F0502020204030204" pitchFamily="34" charset="0"/>
              </a:endParaRPr>
            </a:p>
          </p:txBody>
        </p:sp>
      </p:grpSp>
      <p:sp>
        <p:nvSpPr>
          <p:cNvPr id="16" name="Yuvarlatılmış Dikdörtgen 15"/>
          <p:cNvSpPr/>
          <p:nvPr/>
        </p:nvSpPr>
        <p:spPr>
          <a:xfrm>
            <a:off x="1119755" y="4956604"/>
            <a:ext cx="2036362" cy="1438963"/>
          </a:xfrm>
          <a:prstGeom prst="roundRect">
            <a:avLst>
              <a:gd name="adj" fmla="val 10000"/>
            </a:avLst>
          </a:prstGeom>
          <a:blipFill>
            <a:blip r:embed="rId4">
              <a:extLst>
                <a:ext uri="{28A0092B-C50C-407E-A947-70E740481C1C}">
                  <a14:useLocalDpi xmlns:a14="http://schemas.microsoft.com/office/drawing/2010/main" val="0"/>
                </a:ext>
              </a:extLst>
            </a:blip>
            <a:srcRect/>
            <a:stretch>
              <a:fillRect t="-25000" b="-25000"/>
            </a:stretch>
          </a:blipFill>
          <a:ln>
            <a:noFill/>
          </a:ln>
        </p:spPr>
        <p:style>
          <a:lnRef idx="2">
            <a:scrgbClr r="0" g="0" b="0"/>
          </a:lnRef>
          <a:fillRef idx="1">
            <a:scrgbClr r="0" g="0" b="0"/>
          </a:fillRef>
          <a:effectRef idx="0">
            <a:schemeClr val="accent4">
              <a:tint val="50000"/>
              <a:hueOff val="4096068"/>
              <a:satOff val="-26640"/>
              <a:lumOff val="-1818"/>
              <a:alphaOff val="0"/>
            </a:schemeClr>
          </a:effectRef>
          <a:fontRef idx="minor">
            <a:schemeClr val="lt1">
              <a:hueOff val="0"/>
              <a:satOff val="0"/>
              <a:lumOff val="0"/>
              <a:alphaOff val="0"/>
            </a:schemeClr>
          </a:fontRef>
        </p:style>
      </p:sp>
      <p:sp>
        <p:nvSpPr>
          <p:cNvPr id="36" name="Komut Düğmesi: Giriş 35">
            <a:hlinkClick r:id="rId5" action="ppaction://hlinksldjump" highlightClick="1"/>
          </p:cNvPr>
          <p:cNvSpPr/>
          <p:nvPr/>
        </p:nvSpPr>
        <p:spPr>
          <a:xfrm>
            <a:off x="11730499" y="6395567"/>
            <a:ext cx="373011" cy="353961"/>
          </a:xfrm>
          <a:prstGeom prst="actionButtonHome">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tr-TR" sz="1200" dirty="0" smtClean="0">
              <a:solidFill>
                <a:srgbClr val="FFFFFF"/>
              </a:solidFill>
            </a:endParaRPr>
          </a:p>
        </p:txBody>
      </p:sp>
    </p:spTree>
    <p:extLst>
      <p:ext uri="{BB962C8B-B14F-4D97-AF65-F5344CB8AC3E}">
        <p14:creationId xmlns:p14="http://schemas.microsoft.com/office/powerpoint/2010/main" val="379660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kdörtgen 2"/>
          <p:cNvSpPr/>
          <p:nvPr/>
        </p:nvSpPr>
        <p:spPr>
          <a:xfrm>
            <a:off x="362686" y="2115638"/>
            <a:ext cx="7689773" cy="1354217"/>
          </a:xfrm>
          <a:prstGeom prst="rect">
            <a:avLst/>
          </a:prstGeom>
        </p:spPr>
        <p:txBody>
          <a:bodyPr wrap="square">
            <a:spAutoFit/>
          </a:bodyPr>
          <a:lstStyle/>
          <a:p>
            <a:r>
              <a:rPr lang="en-US" sz="8200" b="1" dirty="0" smtClean="0">
                <a:solidFill>
                  <a:srgbClr val="203864"/>
                </a:solidFill>
                <a:latin typeface="Calibri" panose="020F0502020204030204" pitchFamily="34" charset="0"/>
                <a:cs typeface="Calibri" panose="020F0502020204030204" pitchFamily="34" charset="0"/>
              </a:rPr>
              <a:t>Thank You</a:t>
            </a:r>
          </a:p>
        </p:txBody>
      </p:sp>
      <p:sp>
        <p:nvSpPr>
          <p:cNvPr id="4" name="Dikdörtgen 3"/>
          <p:cNvSpPr/>
          <p:nvPr/>
        </p:nvSpPr>
        <p:spPr>
          <a:xfrm>
            <a:off x="362686" y="3469856"/>
            <a:ext cx="6588959" cy="2308324"/>
          </a:xfrm>
          <a:prstGeom prst="rect">
            <a:avLst/>
          </a:prstGeom>
        </p:spPr>
        <p:txBody>
          <a:bodyPr wrap="square">
            <a:spAutoFit/>
          </a:bodyPr>
          <a:lstStyle/>
          <a:p>
            <a:r>
              <a:rPr lang="tr-TR" b="1" dirty="0">
                <a:latin typeface="Calibri" panose="020F0502020204030204" pitchFamily="34" charset="0"/>
                <a:cs typeface="Calibri" panose="020F0502020204030204" pitchFamily="34" charset="0"/>
              </a:rPr>
              <a:t>Elif Pınar POLAT</a:t>
            </a:r>
          </a:p>
          <a:p>
            <a:r>
              <a:rPr lang="tr-TR" dirty="0">
                <a:latin typeface="Calibri" panose="020F0502020204030204" pitchFamily="34" charset="0"/>
                <a:cs typeface="Calibri" panose="020F0502020204030204" pitchFamily="34" charset="0"/>
              </a:rPr>
              <a:t> </a:t>
            </a:r>
            <a:endParaRPr lang="en-US" dirty="0" smtClean="0">
              <a:latin typeface="Calibri" panose="020F0502020204030204" pitchFamily="34" charset="0"/>
              <a:cs typeface="Calibri" panose="020F0502020204030204" pitchFamily="34" charset="0"/>
            </a:endParaRPr>
          </a:p>
          <a:p>
            <a:r>
              <a:rPr lang="en-US" i="1" dirty="0" smtClean="0">
                <a:latin typeface="Calibri" panose="020F0502020204030204" pitchFamily="34" charset="0"/>
                <a:cs typeface="Calibri" panose="020F0502020204030204" pitchFamily="34" charset="0"/>
              </a:rPr>
              <a:t>Environmental Engineer</a:t>
            </a:r>
            <a:endParaRPr lang="en-US" dirty="0" smtClean="0">
              <a:latin typeface="Calibri" panose="020F0502020204030204" pitchFamily="34" charset="0"/>
              <a:cs typeface="Calibri" panose="020F0502020204030204" pitchFamily="34" charset="0"/>
            </a:endParaRPr>
          </a:p>
          <a:p>
            <a:r>
              <a:rPr lang="en-US" i="1" dirty="0" smtClean="0">
                <a:latin typeface="Calibri" panose="020F0502020204030204" pitchFamily="34" charset="0"/>
                <a:cs typeface="Calibri" panose="020F0502020204030204" pitchFamily="34" charset="0"/>
              </a:rPr>
              <a:t>Greenhouse Gas Mitigation Policies Department</a:t>
            </a:r>
            <a:endParaRPr lang="en-US" dirty="0" smtClean="0">
              <a:latin typeface="Calibri" panose="020F0502020204030204" pitchFamily="34" charset="0"/>
              <a:cs typeface="Calibri" panose="020F0502020204030204" pitchFamily="34" charset="0"/>
            </a:endParaRPr>
          </a:p>
          <a:p>
            <a:r>
              <a:rPr lang="en-US" i="1" dirty="0" smtClean="0">
                <a:latin typeface="Calibri" panose="020F0502020204030204" pitchFamily="34" charset="0"/>
                <a:cs typeface="Calibri" panose="020F0502020204030204" pitchFamily="34" charset="0"/>
              </a:rPr>
              <a:t>Directorate of Climate Change</a:t>
            </a:r>
            <a:endParaRPr lang="en-US" dirty="0" smtClean="0">
              <a:latin typeface="Calibri" panose="020F0502020204030204" pitchFamily="34" charset="0"/>
              <a:cs typeface="Calibri" panose="020F0502020204030204" pitchFamily="34" charset="0"/>
            </a:endParaRPr>
          </a:p>
          <a:p>
            <a:r>
              <a:rPr lang="en-US" i="1" dirty="0" smtClean="0">
                <a:latin typeface="Calibri" panose="020F0502020204030204" pitchFamily="34" charset="0"/>
                <a:cs typeface="Calibri" panose="020F0502020204030204" pitchFamily="34" charset="0"/>
              </a:rPr>
              <a:t>Republic of </a:t>
            </a:r>
            <a:r>
              <a:rPr lang="en-US" i="1" dirty="0" err="1" smtClean="0">
                <a:latin typeface="Calibri" panose="020F0502020204030204" pitchFamily="34" charset="0"/>
                <a:cs typeface="Calibri" panose="020F0502020204030204" pitchFamily="34" charset="0"/>
              </a:rPr>
              <a:t>Türkiye</a:t>
            </a:r>
            <a:r>
              <a:rPr lang="en-US" i="1" dirty="0" smtClean="0">
                <a:latin typeface="Calibri" panose="020F0502020204030204" pitchFamily="34" charset="0"/>
                <a:cs typeface="Calibri" panose="020F0502020204030204" pitchFamily="34" charset="0"/>
              </a:rPr>
              <a:t> Ministry of Environment, Urbanization and Climate Change</a:t>
            </a:r>
            <a:r>
              <a:rPr lang="en-US" dirty="0" smtClean="0">
                <a:latin typeface="Calibri" panose="020F0502020204030204" pitchFamily="34" charset="0"/>
                <a:cs typeface="Calibri" panose="020F0502020204030204" pitchFamily="34" charset="0"/>
              </a:rPr>
              <a:t> </a:t>
            </a:r>
            <a:endParaRPr lang="tr-TR" dirty="0" smtClean="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elifpinar.polat@iklim.gov.tr</a:t>
            </a:r>
            <a:endParaRPr lang="en-US" dirty="0">
              <a:latin typeface="Calibri" panose="020F0502020204030204" pitchFamily="34" charset="0"/>
              <a:cs typeface="Calibri" panose="020F0502020204030204" pitchFamily="34" charset="0"/>
            </a:endParaRPr>
          </a:p>
        </p:txBody>
      </p:sp>
      <p:pic>
        <p:nvPicPr>
          <p:cNvPr id="28674" name="Picture 2" descr="İklim Değişikliği Başkanlığı"/>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4496" y="4133140"/>
            <a:ext cx="3363460" cy="1138402"/>
          </a:xfrm>
          <a:prstGeom prst="rect">
            <a:avLst/>
          </a:prstGeom>
          <a:noFill/>
          <a:extLst>
            <a:ext uri="{909E8E84-426E-40DD-AFC4-6F175D3DCCD1}">
              <a14:hiddenFill xmlns:a14="http://schemas.microsoft.com/office/drawing/2010/main">
                <a:solidFill>
                  <a:srgbClr val="FFFFFF"/>
                </a:solidFill>
              </a14:hiddenFill>
            </a:ext>
          </a:extLst>
        </p:spPr>
      </p:pic>
      <p:cxnSp>
        <p:nvCxnSpPr>
          <p:cNvPr id="6" name="Düz Bağlayıcı 5"/>
          <p:cNvCxnSpPr/>
          <p:nvPr/>
        </p:nvCxnSpPr>
        <p:spPr>
          <a:xfrm flipH="1">
            <a:off x="6929611" y="3580482"/>
            <a:ext cx="11017" cy="2423711"/>
          </a:xfrm>
          <a:prstGeom prst="line">
            <a:avLst/>
          </a:prstGeom>
          <a:ln w="12700">
            <a:solidFill>
              <a:schemeClr val="bg2">
                <a:lumMod val="50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05385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7037&quot;&gt;&lt;version val=&quot;329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C9&quot; g=&quot;E7&quot; b=&quot;CA&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9d8c265a-5436-43a7-80c1-713d2827ffde" ContentTypeId="0x0101" PreviousValue="false"/>
</file>

<file path=customXml/item2.xml><?xml version="1.0" encoding="utf-8"?>
<ct:contentTypeSchema xmlns:ct="http://schemas.microsoft.com/office/2006/metadata/contentType" xmlns:ma="http://schemas.microsoft.com/office/2006/metadata/properties/metaAttributes" ct:_="" ma:_="" ma:contentTypeName="Document" ma:contentTypeID="0x010100E17FFE90F61C854097DA07ED277BC344" ma:contentTypeVersion="31" ma:contentTypeDescription="Create a new document." ma:contentTypeScope="" ma:versionID="7f9c74b3a85fb2dc016bc5a50b2ffa9b">
  <xsd:schema xmlns:xsd="http://www.w3.org/2001/XMLSchema" xmlns:xs="http://www.w3.org/2001/XMLSchema" xmlns:p="http://schemas.microsoft.com/office/2006/metadata/properties" xmlns:ns2="5f903c3c-4f52-4be0-a85f-c4d591ba69ef" xmlns:ns3="f870fda6-7c17-4a4b-8e4d-1fafecbc98e3" xmlns:ns4="eb4559c4-8463-4985-927f-f0d558bff8f0" targetNamespace="http://schemas.microsoft.com/office/2006/metadata/properties" ma:root="true" ma:fieldsID="fc80e55cea50aff952c8018a193d86b3" ns2:_="" ns3:_="" ns4:_="">
    <xsd:import namespace="5f903c3c-4f52-4be0-a85f-c4d591ba69ef"/>
    <xsd:import namespace="f870fda6-7c17-4a4b-8e4d-1fafecbc98e3"/>
    <xsd:import namespace="eb4559c4-8463-4985-927f-f0d558bff8f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TypeofDocument" minOccurs="0"/>
                <xsd:element ref="ns2:lcf76f155ced4ddcb4097134ff3c332f" minOccurs="0"/>
                <xsd:element ref="ns4:TaxCatchAll" minOccurs="0"/>
                <xsd:element ref="ns2:TOPIC" minOccurs="0"/>
                <xsd:element ref="ns2:MediaServiceObjectDetectorVersions" minOccurs="0"/>
                <xsd:element ref="ns2:MediaServiceSearchProperties" minOccurs="0"/>
                <xsd:element ref="ns2:Year" minOccurs="0"/>
                <xsd:element ref="ns2:Status" minOccurs="0"/>
                <xsd:element ref="ns2:_Flow_SignoffStatus" minOccurs="0"/>
                <xsd:element ref="ns2:NameofCo_x002d_Chair" minOccurs="0"/>
                <xsd:element ref="ns2:Event" minOccurs="0"/>
                <xsd:element ref="ns2:Status0"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903c3c-4f52-4be0-a85f-c4d591ba69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TypeofDocument" ma:index="21" nillable="true" ma:displayName="Type of Document" ma:format="Dropdown" ma:indexed="true" ma:internalName="TypeofDocument">
      <xsd:simpleType>
        <xsd:union memberTypes="dms:Text">
          <xsd:simpleType>
            <xsd:restriction base="dms:Choice">
              <xsd:enumeration value="Agenda"/>
              <xsd:enumeration value="Attendance List"/>
              <xsd:enumeration value="Briefing Notes"/>
              <xsd:enumeration value="Budget &amp; Finance"/>
              <xsd:enumeration value="Concept &amp; Scenario Notes"/>
              <xsd:enumeration value="Invitations"/>
              <xsd:enumeration value="Intervention"/>
              <xsd:enumeration value="Logistics/Admin doc"/>
              <xsd:enumeration value="Meeting Notes"/>
              <xsd:enumeration value="Message to the Parties"/>
              <xsd:enumeration value="MoU and Agreement"/>
              <xsd:enumeration value="Planning Document"/>
              <xsd:enumeration value="Recording"/>
              <xsd:enumeration value="Registration &amp; Attendance"/>
              <xsd:enumeration value="Reports"/>
              <xsd:enumeration value="Speaking Notes"/>
              <xsd:enumeration value="Submissions"/>
              <xsd:enumeration value="Travel &amp; DSA"/>
              <xsd:enumeration value="Venue Quotation"/>
              <xsd:enumeration value="ARCHIVE"/>
              <xsd:enumeration value="Templates"/>
            </xsd:restriction>
          </xsd:simpleType>
        </xsd:un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9d8c265a-5436-43a7-80c1-713d2827ffde" ma:termSetId="09814cd3-568e-fe90-9814-8d621ff8fb84" ma:anchorId="fba54fb3-c3e1-fe81-a776-ca4b69148c4d" ma:open="true" ma:isKeyword="false">
      <xsd:complexType>
        <xsd:sequence>
          <xsd:element ref="pc:Terms" minOccurs="0" maxOccurs="1"/>
        </xsd:sequence>
      </xsd:complexType>
    </xsd:element>
    <xsd:element name="TOPIC" ma:index="25" nillable="true" ma:displayName="TOPIC" ma:format="Dropdown" ma:internalName="TOPIC">
      <xsd:simpleType>
        <xsd:restriction base="dms:Choice">
          <xsd:enumeration value="MWP"/>
          <xsd:enumeration value="BUNKERS"/>
          <xsd:enumeration value="RCC"/>
          <xsd:enumeration value="NDC Activities"/>
        </xsd:restrictio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Year" ma:index="28" nillable="true" ma:displayName="Year" ma:format="Dropdown" ma:internalName="Year">
      <xsd:simpleType>
        <xsd:restriction base="dms:Text">
          <xsd:maxLength value="255"/>
        </xsd:restriction>
      </xsd:simpleType>
    </xsd:element>
    <xsd:element name="Status" ma:index="29" nillable="true" ma:displayName="Travel Status" ma:format="Dropdown" ma:internalName="Status">
      <xsd:simpleType>
        <xsd:restriction base="dms:Choice">
          <xsd:enumeration value="Registration received"/>
          <xsd:enumeration value="Itinarary requested"/>
          <xsd:enumeration value="Itinerary shared with participant"/>
          <xsd:enumeration value="itinerary confirmed"/>
          <xsd:enumeration value="TR requested"/>
          <xsd:enumeration value="Ticket Isssued"/>
          <xsd:enumeration value="Ticket send to Participant"/>
        </xsd:restriction>
      </xsd:simpleType>
    </xsd:element>
    <xsd:element name="_Flow_SignoffStatus" ma:index="30" nillable="true" ma:displayName="Sign-off status" ma:internalName="_x0024_Resources_x003a_core_x002c_Signoff_Status">
      <xsd:simpleType>
        <xsd:restriction base="dms:Text"/>
      </xsd:simpleType>
    </xsd:element>
    <xsd:element name="NameofCo_x002d_Chair" ma:index="31" nillable="true" ma:displayName="Name of invited Person" ma:format="Dropdown" ma:internalName="NameofCo_x002d_Chair">
      <xsd:simpleType>
        <xsd:union memberTypes="dms:Text">
          <xsd:simpleType>
            <xsd:restriction base="dms:Choice">
              <xsd:enumeration value="Angela Churie Kallhauge"/>
              <xsd:enumeration value="Gao Xiang"/>
              <xsd:enumeration value="NFP"/>
              <xsd:enumeration value="Lingyi Xu"/>
              <xsd:enumeration value="Zach Cohen"/>
              <xsd:enumeration value="Choice 6"/>
              <xsd:enumeration value="Shinan Li"/>
            </xsd:restriction>
          </xsd:simpleType>
        </xsd:union>
      </xsd:simpleType>
    </xsd:element>
    <xsd:element name="Event" ma:index="32" nillable="true" ma:displayName="Event" ma:format="Dropdown" ma:internalName="Event">
      <xsd:simpleType>
        <xsd:union memberTypes="dms:Text">
          <xsd:simpleType>
            <xsd:restriction base="dms:Choice">
              <xsd:enumeration value="Climate Week"/>
              <xsd:enumeration value="COP"/>
              <xsd:enumeration value="MWP GD &amp; IFE"/>
              <xsd:enumeration value="Planning Retreat"/>
              <xsd:enumeration value="SB"/>
            </xsd:restriction>
          </xsd:simpleType>
        </xsd:union>
      </xsd:simpleType>
    </xsd:element>
    <xsd:element name="Status0" ma:index="33" nillable="true" ma:displayName="Status" ma:format="Dropdown" ma:internalName="Status0">
      <xsd:simpleType>
        <xsd:restriction base="dms:Choice">
          <xsd:enumeration value="Draft"/>
          <xsd:enumeration value="Pending approval"/>
          <xsd:enumeration value="Approved"/>
          <xsd:enumeration value="Final"/>
        </xsd:restriction>
      </xsd:simpleType>
    </xsd:element>
    <xsd:element name="MediaServiceBillingMetadata" ma:index="3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70fda6-7c17-4a4b-8e4d-1fafecbc98e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4559c4-8463-4985-927f-f0d558bff8f0"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d4015c78-049a-4d79-be85-e4b313e07bd7}" ma:internalName="TaxCatchAll" ma:showField="CatchAllData" ma:web="f870fda6-7c17-4a4b-8e4d-1fafecbc98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eb4559c4-8463-4985-927f-f0d558bff8f0" xsi:nil="true"/>
    <TOPIC xmlns="5f903c3c-4f52-4be0-a85f-c4d591ba69ef" xsi:nil="true"/>
    <TypeofDocument xmlns="5f903c3c-4f52-4be0-a85f-c4d591ba69ef" xsi:nil="true"/>
    <lcf76f155ced4ddcb4097134ff3c332f xmlns="5f903c3c-4f52-4be0-a85f-c4d591ba69ef">
      <Terms xmlns="http://schemas.microsoft.com/office/infopath/2007/PartnerControls"/>
    </lcf76f155ced4ddcb4097134ff3c332f>
    <Year xmlns="5f903c3c-4f52-4be0-a85f-c4d591ba69ef" xsi:nil="true"/>
    <Event xmlns="5f903c3c-4f52-4be0-a85f-c4d591ba69ef" xsi:nil="true"/>
    <_Flow_SignoffStatus xmlns="5f903c3c-4f52-4be0-a85f-c4d591ba69ef" xsi:nil="true"/>
    <NameofCo_x002d_Chair xmlns="5f903c3c-4f52-4be0-a85f-c4d591ba69ef" xsi:nil="true"/>
    <Status0 xmlns="5f903c3c-4f52-4be0-a85f-c4d591ba69ef" xsi:nil="true"/>
    <Status xmlns="5f903c3c-4f52-4be0-a85f-c4d591ba69ef" xsi:nil="true"/>
  </documentManagement>
</p:properties>
</file>

<file path=customXml/itemProps1.xml><?xml version="1.0" encoding="utf-8"?>
<ds:datastoreItem xmlns:ds="http://schemas.openxmlformats.org/officeDocument/2006/customXml" ds:itemID="{3880912D-5128-4063-BDC7-3462D0B93B10}">
  <ds:schemaRefs>
    <ds:schemaRef ds:uri="Microsoft.SharePoint.Taxonomy.ContentTypeSync"/>
  </ds:schemaRefs>
</ds:datastoreItem>
</file>

<file path=customXml/itemProps2.xml><?xml version="1.0" encoding="utf-8"?>
<ds:datastoreItem xmlns:ds="http://schemas.openxmlformats.org/officeDocument/2006/customXml" ds:itemID="{1B5603FF-4761-4ED8-BCFF-417C4B6A8C9D}"/>
</file>

<file path=customXml/itemProps3.xml><?xml version="1.0" encoding="utf-8"?>
<ds:datastoreItem xmlns:ds="http://schemas.openxmlformats.org/officeDocument/2006/customXml" ds:itemID="{F1C590EF-4AF2-41F3-B10B-6B27186F9B6C}">
  <ds:schemaRefs>
    <ds:schemaRef ds:uri="http://schemas.microsoft.com/sharepoint/v3/contenttype/forms"/>
  </ds:schemaRefs>
</ds:datastoreItem>
</file>

<file path=customXml/itemProps4.xml><?xml version="1.0" encoding="utf-8"?>
<ds:datastoreItem xmlns:ds="http://schemas.openxmlformats.org/officeDocument/2006/customXml" ds:itemID="{7DFCE937-1211-43FA-97A1-67EAE3BED969}">
  <ds:schemaRefs>
    <ds:schemaRef ds:uri="http://schemas.microsoft.com/office/infopath/2007/PartnerControls"/>
    <ds:schemaRef ds:uri="43d72235-b5c2-4974-a245-c71281c0d013"/>
    <ds:schemaRef ds:uri="http://www.w3.org/XML/1998/namespace"/>
    <ds:schemaRef ds:uri="http://purl.org/dc/term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bfbad001-bda1-49b2-a2c3-18d5c5ac5845"/>
    <ds:schemaRef ds:uri="http://purl.org/dc/dcmitype/"/>
    <ds:schemaRef ds:uri="eb4559c4-8463-4985-927f-f0d558bff8f0"/>
    <ds:schemaRef ds:uri="5f903c3c-4f52-4be0-a85f-c4d591ba69ef"/>
  </ds:schemaRefs>
</ds:datastoreItem>
</file>

<file path=docProps/app.xml><?xml version="1.0" encoding="utf-8"?>
<Properties xmlns="http://schemas.openxmlformats.org/officeDocument/2006/extended-properties" xmlns:vt="http://schemas.openxmlformats.org/officeDocument/2006/docPropsVTypes">
  <Template/>
  <TotalTime>1290</TotalTime>
  <Words>1431</Words>
  <Application>Microsoft Office PowerPoint</Application>
  <PresentationFormat>Geniş ekran</PresentationFormat>
  <Paragraphs>142</Paragraphs>
  <Slides>8</Slides>
  <Notes>1</Notes>
  <HiddenSlides>0</HiddenSlides>
  <MMClips>0</MMClips>
  <ScaleCrop>false</ScaleCrop>
  <HeadingPairs>
    <vt:vector size="10" baseType="variant">
      <vt:variant>
        <vt:lpstr>Kullanılan Yazı Tipleri</vt:lpstr>
      </vt:variant>
      <vt:variant>
        <vt:i4>4</vt:i4>
      </vt:variant>
      <vt:variant>
        <vt:lpstr>Tema</vt:lpstr>
      </vt:variant>
      <vt:variant>
        <vt:i4>3</vt:i4>
      </vt:variant>
      <vt:variant>
        <vt:lpstr>Eklenmiş OLE Hizmet Programları</vt:lpstr>
      </vt:variant>
      <vt:variant>
        <vt:i4>1</vt:i4>
      </vt:variant>
      <vt:variant>
        <vt:lpstr>Slayt Başlıkları</vt:lpstr>
      </vt:variant>
      <vt:variant>
        <vt:i4>8</vt:i4>
      </vt:variant>
      <vt:variant>
        <vt:lpstr>Özel Gösteriler</vt:lpstr>
      </vt:variant>
      <vt:variant>
        <vt:i4>1</vt:i4>
      </vt:variant>
    </vt:vector>
  </HeadingPairs>
  <TitlesOfParts>
    <vt:vector size="17" baseType="lpstr">
      <vt:lpstr>Arial</vt:lpstr>
      <vt:lpstr>Calibri</vt:lpstr>
      <vt:lpstr>Trebuchet MS</vt:lpstr>
      <vt:lpstr>Wingdings</vt:lpstr>
      <vt:lpstr>BCG Grid 16:9</vt:lpstr>
      <vt:lpstr>1_BCG Grid 16:9</vt:lpstr>
      <vt:lpstr>2_BCG Grid 16:9</vt:lpstr>
      <vt:lpstr>think-cell Slide</vt:lpstr>
      <vt:lpstr>PowerPoint Sunusu</vt:lpstr>
      <vt:lpstr>STRENGTHENING INSTITUTIONAL AND TECHNICAL CAPACITY IN TÜRKİYE’S AFOLU SECTOR FOR NDC IMPLEMENTATION AND THE 2053 NET-ZERO TARGET  </vt:lpstr>
      <vt:lpstr>Project Overview </vt:lpstr>
      <vt:lpstr>Implementation Phases  </vt:lpstr>
      <vt:lpstr>Project Timeline Framework</vt:lpstr>
      <vt:lpstr>Core Information &amp; Structure </vt:lpstr>
      <vt:lpstr>Climate Impact </vt:lpstr>
      <vt:lpstr>PowerPoint Sunusu</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user</cp:lastModifiedBy>
  <cp:revision>109</cp:revision>
  <cp:lastPrinted>1999-12-31T21:00:00Z</cp:lastPrinted>
  <dcterms:created xsi:type="dcterms:W3CDTF">2022-07-19T10:12:06Z</dcterms:created>
  <dcterms:modified xsi:type="dcterms:W3CDTF">2025-08-29T12:4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8-01T13:34: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4ad86e32-ec2e-43cb-81fa-e736fe313f0c</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ContentTypeId">
    <vt:lpwstr>0x010100E17FFE90F61C854097DA07ED277BC344</vt:lpwstr>
  </property>
  <property fmtid="{D5CDD505-2E9C-101B-9397-08002B2CF9AE}" pid="16" name="MediaServiceImageTags">
    <vt:lpwstr/>
  </property>
</Properties>
</file>